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79" r:id="rId2"/>
    <p:sldId id="265" r:id="rId3"/>
    <p:sldId id="267" r:id="rId4"/>
    <p:sldId id="264" r:id="rId5"/>
    <p:sldId id="271" r:id="rId6"/>
    <p:sldId id="263" r:id="rId7"/>
    <p:sldId id="269" r:id="rId8"/>
    <p:sldId id="262" r:id="rId9"/>
    <p:sldId id="272" r:id="rId10"/>
    <p:sldId id="278" r:id="rId11"/>
    <p:sldId id="283" r:id="rId12"/>
    <p:sldId id="268" r:id="rId13"/>
    <p:sldId id="270" r:id="rId14"/>
    <p:sldId id="284"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ummary Section" id="{6877D016-1BE9-4467-8049-D18FC84950AD}">
          <p14:sldIdLst>
            <p14:sldId id="279"/>
          </p14:sldIdLst>
        </p14:section>
        <p14:section name="Section 1" id="{766039E9-348C-45B3-A0AB-20BA0843928C}">
          <p14:sldIdLst>
            <p14:sldId id="265"/>
            <p14:sldId id="267"/>
          </p14:sldIdLst>
        </p14:section>
        <p14:section name="Section 2" id="{4C799301-D255-4332-9277-6A07783CE69E}">
          <p14:sldIdLst>
            <p14:sldId id="264"/>
            <p14:sldId id="271"/>
          </p14:sldIdLst>
        </p14:section>
        <p14:section name="Section 3" id="{5E709D19-8FD9-4392-988A-91DF0E144838}">
          <p14:sldIdLst>
            <p14:sldId id="263"/>
            <p14:sldId id="269"/>
          </p14:sldIdLst>
        </p14:section>
        <p14:section name="Section 4" id="{0CA7EBD9-FAB1-441F-BDE0-16DBBACC517C}">
          <p14:sldIdLst>
            <p14:sldId id="262"/>
            <p14:sldId id="272"/>
          </p14:sldIdLst>
        </p14:section>
        <p14:section name="Section 5" id="{E98A2B73-D752-4336-B6C4-C3B5BE7F60A7}">
          <p14:sldIdLst>
            <p14:sldId id="278"/>
            <p14:sldId id="283"/>
            <p14:sldId id="268"/>
            <p14:sldId id="270"/>
            <p14:sldId id="28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95A70"/>
    <a:srgbClr val="44546A"/>
    <a:srgbClr val="344152"/>
    <a:srgbClr val="519430"/>
    <a:srgbClr val="135938"/>
    <a:srgbClr val="197549"/>
    <a:srgbClr val="1E905A"/>
    <a:srgbClr val="187247"/>
    <a:srgbClr val="125234"/>
    <a:srgbClr val="F9A5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41" autoAdjust="0"/>
    <p:restoredTop sz="94660"/>
  </p:normalViewPr>
  <p:slideViewPr>
    <p:cSldViewPr snapToGrid="0">
      <p:cViewPr varScale="1">
        <p:scale>
          <a:sx n="112" d="100"/>
          <a:sy n="112" d="100"/>
        </p:scale>
        <p:origin x="126" y="15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13C1C0-CE00-40DB-9EFB-59639C7916CA}" type="datetimeFigureOut">
              <a:rPr lang="en-GB" smtClean="0"/>
              <a:t>28/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420E21-0F1C-40E0-A33A-F2B9015771EB}" type="slidenum">
              <a:rPr lang="en-GB" smtClean="0"/>
              <a:t>‹#›</a:t>
            </a:fld>
            <a:endParaRPr lang="en-GB"/>
          </a:p>
        </p:txBody>
      </p:sp>
    </p:spTree>
    <p:extLst>
      <p:ext uri="{BB962C8B-B14F-4D97-AF65-F5344CB8AC3E}">
        <p14:creationId xmlns:p14="http://schemas.microsoft.com/office/powerpoint/2010/main" val="1955081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0420E21-0F1C-40E0-A33A-F2B9015771EB}" type="slidenum">
              <a:rPr lang="en-GB" smtClean="0"/>
              <a:t>1</a:t>
            </a:fld>
            <a:endParaRPr lang="en-GB"/>
          </a:p>
        </p:txBody>
      </p:sp>
    </p:spTree>
    <p:extLst>
      <p:ext uri="{BB962C8B-B14F-4D97-AF65-F5344CB8AC3E}">
        <p14:creationId xmlns:p14="http://schemas.microsoft.com/office/powerpoint/2010/main" val="11166432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0420E21-0F1C-40E0-A33A-F2B9015771EB}" type="slidenum">
              <a:rPr lang="en-GB" smtClean="0"/>
              <a:t>3</a:t>
            </a:fld>
            <a:endParaRPr lang="en-GB"/>
          </a:p>
        </p:txBody>
      </p:sp>
    </p:spTree>
    <p:extLst>
      <p:ext uri="{BB962C8B-B14F-4D97-AF65-F5344CB8AC3E}">
        <p14:creationId xmlns:p14="http://schemas.microsoft.com/office/powerpoint/2010/main" val="2977628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0420E21-0F1C-40E0-A33A-F2B9015771EB}" type="slidenum">
              <a:rPr lang="en-GB" smtClean="0"/>
              <a:t>4</a:t>
            </a:fld>
            <a:endParaRPr lang="en-GB"/>
          </a:p>
        </p:txBody>
      </p:sp>
    </p:spTree>
    <p:extLst>
      <p:ext uri="{BB962C8B-B14F-4D97-AF65-F5344CB8AC3E}">
        <p14:creationId xmlns:p14="http://schemas.microsoft.com/office/powerpoint/2010/main" val="2156959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0420E21-0F1C-40E0-A33A-F2B9015771EB}" type="slidenum">
              <a:rPr lang="en-GB" smtClean="0"/>
              <a:t>5</a:t>
            </a:fld>
            <a:endParaRPr lang="en-GB"/>
          </a:p>
        </p:txBody>
      </p:sp>
    </p:spTree>
    <p:extLst>
      <p:ext uri="{BB962C8B-B14F-4D97-AF65-F5344CB8AC3E}">
        <p14:creationId xmlns:p14="http://schemas.microsoft.com/office/powerpoint/2010/main" val="2845811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000000"/>
                </a:solidFill>
                <a:effectLst/>
                <a:latin typeface="Arial" panose="020B0604020202020204" pitchFamily="34" charset="0"/>
              </a:rPr>
              <a:t>“Children accessing Free School Meals are 28% less likely to leave school with 5 A*-C GCSE grades than their wealthier pe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000000"/>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000000"/>
                </a:solidFill>
                <a:effectLst/>
                <a:latin typeface="Arial" panose="020B0604020202020204" pitchFamily="34" charset="0"/>
              </a:rPr>
              <a:t>Information link: https://neu.org.uk/child-poverty-fac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000000"/>
              </a:solidFill>
              <a:effectLst/>
              <a:latin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70420E21-0F1C-40E0-A33A-F2B9015771EB}" type="slidenum">
              <a:rPr lang="en-GB" smtClean="0"/>
              <a:t>7</a:t>
            </a:fld>
            <a:endParaRPr lang="en-GB"/>
          </a:p>
        </p:txBody>
      </p:sp>
    </p:spTree>
    <p:extLst>
      <p:ext uri="{BB962C8B-B14F-4D97-AF65-F5344CB8AC3E}">
        <p14:creationId xmlns:p14="http://schemas.microsoft.com/office/powerpoint/2010/main" val="2128272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0420E21-0F1C-40E0-A33A-F2B9015771EB}" type="slidenum">
              <a:rPr lang="en-GB" smtClean="0"/>
              <a:t>9</a:t>
            </a:fld>
            <a:endParaRPr lang="en-GB"/>
          </a:p>
        </p:txBody>
      </p:sp>
    </p:spTree>
    <p:extLst>
      <p:ext uri="{BB962C8B-B14F-4D97-AF65-F5344CB8AC3E}">
        <p14:creationId xmlns:p14="http://schemas.microsoft.com/office/powerpoint/2010/main" val="1014149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0420E21-0F1C-40E0-A33A-F2B9015771EB}" type="slidenum">
              <a:rPr lang="en-GB" smtClean="0"/>
              <a:t>14</a:t>
            </a:fld>
            <a:endParaRPr lang="en-GB"/>
          </a:p>
        </p:txBody>
      </p:sp>
    </p:spTree>
    <p:extLst>
      <p:ext uri="{BB962C8B-B14F-4D97-AF65-F5344CB8AC3E}">
        <p14:creationId xmlns:p14="http://schemas.microsoft.com/office/powerpoint/2010/main" val="5431632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BBE0-23D9-4381-BF4C-65F65EE06F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C2C20C2-DAC6-4D8A-B99D-8BFAC751759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3D26672-37A8-4DC9-8CBA-36F4C8376AB0}"/>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5" name="Footer Placeholder 4">
            <a:extLst>
              <a:ext uri="{FF2B5EF4-FFF2-40B4-BE49-F238E27FC236}">
                <a16:creationId xmlns:a16="http://schemas.microsoft.com/office/drawing/2014/main" id="{DF6787FD-46E7-49E7-8567-71170894526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422BD4A-754C-4C34-BAC1-B8E7E63AD362}"/>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13050506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D8CA2-67BA-4099-A5BB-A46E51D2881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6ED46BC-0409-4C6A-95BD-192920B0A02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8FCA928-D205-474C-B6A5-04FBC5A6A2AE}"/>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5" name="Footer Placeholder 4">
            <a:extLst>
              <a:ext uri="{FF2B5EF4-FFF2-40B4-BE49-F238E27FC236}">
                <a16:creationId xmlns:a16="http://schemas.microsoft.com/office/drawing/2014/main" id="{776761C4-33FE-47B6-AC75-3B48C12266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EBB031-2470-4E11-979E-C81C5E42BF43}"/>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681507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8CC821-BEFC-4AA8-BCD5-C97A329D649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3BE2EA9-D332-475B-B8B3-4967B96D7B6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735B09C-B710-4941-8E4F-6100ECFBCC5E}"/>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5" name="Footer Placeholder 4">
            <a:extLst>
              <a:ext uri="{FF2B5EF4-FFF2-40B4-BE49-F238E27FC236}">
                <a16:creationId xmlns:a16="http://schemas.microsoft.com/office/drawing/2014/main" id="{2A92B8C9-2FE1-435B-A56B-76AB3B0C4F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DABFA8D-A089-44DA-8E81-D501A1E7CA15}"/>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3707797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89445-1BA2-488E-A9E1-2F213CF4023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B155487-EF13-4133-AC25-C84F2636F54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CFFA3F-549B-4FF7-B01A-3B9DCF3B3D5A}"/>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5" name="Footer Placeholder 4">
            <a:extLst>
              <a:ext uri="{FF2B5EF4-FFF2-40B4-BE49-F238E27FC236}">
                <a16:creationId xmlns:a16="http://schemas.microsoft.com/office/drawing/2014/main" id="{8DE95F36-46A7-435F-AB1D-FB25B5EB806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90D23D7-A2C6-4785-9A61-0A83F21774C6}"/>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389233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153A2-0A81-4647-B72D-764319DECEA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42724E6-57B1-4D32-AC2B-295456C5F2F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4F4F005-2209-4F44-BE6A-FCDEF2694C1B}"/>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5" name="Footer Placeholder 4">
            <a:extLst>
              <a:ext uri="{FF2B5EF4-FFF2-40B4-BE49-F238E27FC236}">
                <a16:creationId xmlns:a16="http://schemas.microsoft.com/office/drawing/2014/main" id="{E9254F1D-4847-4F15-9435-8B918E36ED9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11C1C48-B524-4F18-9280-052BC2359C27}"/>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72184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D974B-8DE9-4369-B95A-5B90855EF4D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388D954-5ACD-45C3-A570-DE471E20325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315FB58-0426-450C-B9C7-C0221D8C04E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BA86CA2-A67B-4598-B2AD-576502E1EFB0}"/>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6" name="Footer Placeholder 5">
            <a:extLst>
              <a:ext uri="{FF2B5EF4-FFF2-40B4-BE49-F238E27FC236}">
                <a16:creationId xmlns:a16="http://schemas.microsoft.com/office/drawing/2014/main" id="{CFCE9D9D-C648-4B56-BA54-B8E0C1481C1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B2AFF25-4774-4D72-91B7-AEE616E2E8D8}"/>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2122221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FDCDF-E4A8-4F04-AF77-67C0A8A13EC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AAB08BB-E58E-45C6-8CEA-64E2D51C0A2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BD79BE5-4D1D-4AB8-A0A2-7E26B2D2448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8FA91C3-23AB-44D0-954A-5B25DD4CE8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1AAAD6-DB88-413C-AD55-03B188687F9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A8E9212-92EE-454C-8AE9-D4215317EFAB}"/>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8" name="Footer Placeholder 7">
            <a:extLst>
              <a:ext uri="{FF2B5EF4-FFF2-40B4-BE49-F238E27FC236}">
                <a16:creationId xmlns:a16="http://schemas.microsoft.com/office/drawing/2014/main" id="{AF349F60-1A16-4357-A34F-7FC9E08F017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07DF577-0A02-4162-BA78-CDDC7CB68C09}"/>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15144885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145B77-D036-4CE3-8A05-F00CCD552BB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1F6C371-3A23-424C-84FC-93345BEA9A7C}"/>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4" name="Footer Placeholder 3">
            <a:extLst>
              <a:ext uri="{FF2B5EF4-FFF2-40B4-BE49-F238E27FC236}">
                <a16:creationId xmlns:a16="http://schemas.microsoft.com/office/drawing/2014/main" id="{477269A3-9448-492C-A085-7068937464D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65135CE-7C90-4D96-8FF8-B42363BA0023}"/>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2898137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621F6A-A40C-4F9E-AD78-0A9A6FFE6F1B}"/>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3" name="Footer Placeholder 2">
            <a:extLst>
              <a:ext uri="{FF2B5EF4-FFF2-40B4-BE49-F238E27FC236}">
                <a16:creationId xmlns:a16="http://schemas.microsoft.com/office/drawing/2014/main" id="{9CCB52D0-7D08-4E3A-B5C4-00E76F6F0A8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5EE6BC4-506A-463F-96AC-E6455989E7C3}"/>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1453249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0B0C-24E8-4407-97F6-37CBE55F97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16B83A1-64B4-4A6E-8AF3-BE1E151514C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BA111AD-314F-4718-B3BE-B5CF29AF36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E0CC37-FD4E-451C-BCD8-A7F7E0DF0E5B}"/>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6" name="Footer Placeholder 5">
            <a:extLst>
              <a:ext uri="{FF2B5EF4-FFF2-40B4-BE49-F238E27FC236}">
                <a16:creationId xmlns:a16="http://schemas.microsoft.com/office/drawing/2014/main" id="{6D2396AF-2C95-4F3A-AB83-681BFC4FDA8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1E6EC69-39BD-4F56-886C-BA4F600016D9}"/>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41088067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0512E-448B-46AC-A8AE-1EE98EC63A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2761665-25B3-4433-AB83-D239805B240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66D77DA-700B-4C5B-A40F-E3BF4489D3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2E2F0D-9E69-42E5-86A5-168C30967DA9}"/>
              </a:ext>
            </a:extLst>
          </p:cNvPr>
          <p:cNvSpPr>
            <a:spLocks noGrp="1"/>
          </p:cNvSpPr>
          <p:nvPr>
            <p:ph type="dt" sz="half" idx="10"/>
          </p:nvPr>
        </p:nvSpPr>
        <p:spPr/>
        <p:txBody>
          <a:bodyPr/>
          <a:lstStyle/>
          <a:p>
            <a:fld id="{9C91868A-53DF-4960-8734-F54A8B06C168}" type="datetimeFigureOut">
              <a:rPr lang="en-GB" smtClean="0"/>
              <a:t>28/08/2021</a:t>
            </a:fld>
            <a:endParaRPr lang="en-GB"/>
          </a:p>
        </p:txBody>
      </p:sp>
      <p:sp>
        <p:nvSpPr>
          <p:cNvPr id="6" name="Footer Placeholder 5">
            <a:extLst>
              <a:ext uri="{FF2B5EF4-FFF2-40B4-BE49-F238E27FC236}">
                <a16:creationId xmlns:a16="http://schemas.microsoft.com/office/drawing/2014/main" id="{C11009C1-259D-4432-8AF0-29164368192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A1358F5-2923-45AF-9A03-D9309CB6BACF}"/>
              </a:ext>
            </a:extLst>
          </p:cNvPr>
          <p:cNvSpPr>
            <a:spLocks noGrp="1"/>
          </p:cNvSpPr>
          <p:nvPr>
            <p:ph type="sldNum" sz="quarter" idx="12"/>
          </p:nvPr>
        </p:nvSpPr>
        <p:spPr/>
        <p:txBody>
          <a:bodyPr/>
          <a:lstStyle/>
          <a:p>
            <a:fld id="{9F25B740-B4A5-4720-BB0A-008C98594AF7}" type="slidenum">
              <a:rPr lang="en-GB" smtClean="0"/>
              <a:t>‹#›</a:t>
            </a:fld>
            <a:endParaRPr lang="en-GB"/>
          </a:p>
        </p:txBody>
      </p:sp>
    </p:spTree>
    <p:extLst>
      <p:ext uri="{BB962C8B-B14F-4D97-AF65-F5344CB8AC3E}">
        <p14:creationId xmlns:p14="http://schemas.microsoft.com/office/powerpoint/2010/main" val="3896500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A7C793-F895-4945-9DF1-83A14CFE16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915A751-3230-4F10-98AF-BCDC1C771E5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3148FC0-169D-4D21-B878-503BDAE299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91868A-53DF-4960-8734-F54A8B06C168}" type="datetimeFigureOut">
              <a:rPr lang="en-GB" smtClean="0"/>
              <a:t>28/08/2021</a:t>
            </a:fld>
            <a:endParaRPr lang="en-GB"/>
          </a:p>
        </p:txBody>
      </p:sp>
      <p:sp>
        <p:nvSpPr>
          <p:cNvPr id="5" name="Footer Placeholder 4">
            <a:extLst>
              <a:ext uri="{FF2B5EF4-FFF2-40B4-BE49-F238E27FC236}">
                <a16:creationId xmlns:a16="http://schemas.microsoft.com/office/drawing/2014/main" id="{61B56CD9-5E6F-4408-987D-966460B0DC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A9C01190-544D-4C22-8DD2-BB597739B5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25B740-B4A5-4720-BB0A-008C98594AF7}" type="slidenum">
              <a:rPr lang="en-GB" smtClean="0"/>
              <a:t>‹#›</a:t>
            </a:fld>
            <a:endParaRPr lang="en-GB"/>
          </a:p>
        </p:txBody>
      </p:sp>
    </p:spTree>
    <p:extLst>
      <p:ext uri="{BB962C8B-B14F-4D97-AF65-F5344CB8AC3E}">
        <p14:creationId xmlns:p14="http://schemas.microsoft.com/office/powerpoint/2010/main" val="4288049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slide" Target="slide10.xml"/><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4.png"/><Relationship Id="rId11" Type="http://schemas.openxmlformats.org/officeDocument/2006/relationships/slide" Target="slide8.xml"/><Relationship Id="rId5" Type="http://schemas.openxmlformats.org/officeDocument/2006/relationships/image" Target="../media/image3.png"/><Relationship Id="rId10" Type="http://schemas.openxmlformats.org/officeDocument/2006/relationships/slide" Target="slide6.xml"/><Relationship Id="rId4" Type="http://schemas.openxmlformats.org/officeDocument/2006/relationships/image" Target="../media/image2.png"/><Relationship Id="rId9" Type="http://schemas.openxmlformats.org/officeDocument/2006/relationships/slide" Target="slide4.xml"/></Relationships>
</file>

<file path=ppt/slides/_rels/slide1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21.jpg"/><Relationship Id="rId5" Type="http://schemas.openxmlformats.org/officeDocument/2006/relationships/image" Target="../media/image22.jpg"/><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1.jp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22.jpg"/><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182B0F-3543-43EE-8C73-AE9B34BC4D96}"/>
              </a:ext>
            </a:extLst>
          </p:cNvPr>
          <p:cNvSpPr/>
          <p:nvPr/>
        </p:nvSpPr>
        <p:spPr>
          <a:xfrm>
            <a:off x="0" y="0"/>
            <a:ext cx="12192000" cy="6858000"/>
          </a:xfrm>
          <a:prstGeom prst="rect">
            <a:avLst/>
          </a:prstGeom>
          <a:solidFill>
            <a:srgbClr val="34415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2">
            <a:extLst>
              <a:ext uri="{FF2B5EF4-FFF2-40B4-BE49-F238E27FC236}">
                <a16:creationId xmlns:a16="http://schemas.microsoft.com/office/drawing/2014/main" id="{400B1E1C-4F4C-40B3-8C91-91BC9DCD63EA}"/>
              </a:ext>
              <a:ext uri="{C183D7F6-B498-43B3-948B-1728B52AA6E4}">
                <adec:decorative xmlns:adec="http://schemas.microsoft.com/office/drawing/2017/decorative" val="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0" y="0"/>
            <a:ext cx="12171010" cy="6858000"/>
          </a:xfrm>
          <a:prstGeom prst="rect">
            <a:avLst/>
          </a:prstGeom>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sp>
        <p:nvSpPr>
          <p:cNvPr id="2" name="Title 1">
            <a:extLst>
              <a:ext uri="{FF2B5EF4-FFF2-40B4-BE49-F238E27FC236}">
                <a16:creationId xmlns:a16="http://schemas.microsoft.com/office/drawing/2014/main" id="{068E3EC6-38DE-4440-B184-893BFB9ED6DE}"/>
              </a:ext>
            </a:extLst>
          </p:cNvPr>
          <p:cNvSpPr>
            <a:spLocks noGrp="1"/>
          </p:cNvSpPr>
          <p:nvPr>
            <p:ph type="title"/>
          </p:nvPr>
        </p:nvSpPr>
        <p:spPr>
          <a:xfrm>
            <a:off x="2022765" y="185121"/>
            <a:ext cx="8164944" cy="1303459"/>
          </a:xfrm>
        </p:spPr>
        <p:txBody>
          <a:bodyPr>
            <a:normAutofit/>
          </a:bodyPr>
          <a:lstStyle/>
          <a:p>
            <a:pPr algn="ctr"/>
            <a:r>
              <a:rPr lang="en-GB" sz="3600" dirty="0">
                <a:solidFill>
                  <a:schemeClr val="bg1"/>
                </a:solidFill>
                <a:effectLst>
                  <a:outerShdw blurRad="38100" dist="38100" dir="2700000" algn="tl">
                    <a:srgbClr val="000000">
                      <a:alpha val="43137"/>
                    </a:srgbClr>
                  </a:outerShdw>
                </a:effectLst>
                <a:latin typeface="Franklin Gothic Demi" panose="020B0703020102020204" pitchFamily="34" charset="0"/>
              </a:rPr>
              <a:t>Alexander Zlatev: About me and my Views</a:t>
            </a:r>
          </a:p>
        </p:txBody>
      </p:sp>
      <mc:AlternateContent xmlns:mc="http://schemas.openxmlformats.org/markup-compatibility/2006">
        <mc:Choice xmlns:psuz="http://schemas.microsoft.com/office/powerpoint/2016/summaryzoom" Requires="psuz">
          <p:graphicFrame>
            <p:nvGraphicFramePr>
              <p:cNvPr id="5" name="Summary Zoom 4">
                <a:extLst>
                  <a:ext uri="{FF2B5EF4-FFF2-40B4-BE49-F238E27FC236}">
                    <a16:creationId xmlns:a16="http://schemas.microsoft.com/office/drawing/2014/main" id="{B5A2397B-E578-452D-A502-0CC22FF20DCC}"/>
                  </a:ext>
                </a:extLst>
              </p:cNvPr>
              <p:cNvGraphicFramePr>
                <a:graphicFrameLocks noChangeAspect="1"/>
              </p:cNvGraphicFramePr>
              <p:nvPr/>
            </p:nvGraphicFramePr>
            <p:xfrm>
              <a:off x="648925" y="1534410"/>
              <a:ext cx="10912624" cy="3782126"/>
            </p:xfrm>
            <a:graphic>
              <a:graphicData uri="http://schemas.microsoft.com/office/powerpoint/2016/summaryzoom">
                <psuz:summaryZm>
                  <psuz:summaryZmObj sectionId="{766039E9-348C-45B3-A0AB-20BA0843928C}">
                    <psuz:zmPr id="{0E8F25FD-AA5C-4577-8B57-0A731DEFE40F}" transitionDur="1000">
                      <p166:blipFill xmlns:p166="http://schemas.microsoft.com/office/powerpoint/2016/6/main">
                        <a:blip r:embed="rId4"/>
                        <a:stretch>
                          <a:fillRect/>
                        </a:stretch>
                      </p166:blipFill>
                      <p166:spPr xmlns:p166="http://schemas.microsoft.com/office/powerpoint/2016/6/main">
                        <a:xfrm>
                          <a:off x="2373880" y="132374"/>
                          <a:ext cx="3025700" cy="1701957"/>
                        </a:xfrm>
                        <a:prstGeom prst="rect">
                          <a:avLst/>
                        </a:prstGeom>
                        <a:ln w="3175">
                          <a:solidFill>
                            <a:prstClr val="ltGray"/>
                          </a:solidFill>
                        </a:ln>
                      </p166:spPr>
                    </psuz:zmPr>
                  </psuz:summaryZmObj>
                  <psuz:summaryZmObj sectionId="{4C799301-D255-4332-9277-6A07783CE69E}">
                    <psuz:zmPr id="{8E7917F3-89B2-4ECA-8C9F-55DFDE5C5255}" transitionDur="1000">
                      <p166:blipFill xmlns:p166="http://schemas.microsoft.com/office/powerpoint/2016/6/main">
                        <a:blip r:embed="rId5"/>
                        <a:stretch>
                          <a:fillRect/>
                        </a:stretch>
                      </p166:blipFill>
                      <p166:spPr xmlns:p166="http://schemas.microsoft.com/office/powerpoint/2016/6/main">
                        <a:xfrm>
                          <a:off x="5513044" y="132374"/>
                          <a:ext cx="3025700" cy="1701957"/>
                        </a:xfrm>
                        <a:prstGeom prst="rect">
                          <a:avLst/>
                        </a:prstGeom>
                        <a:ln w="3175">
                          <a:solidFill>
                            <a:prstClr val="ltGray"/>
                          </a:solidFill>
                        </a:ln>
                      </p166:spPr>
                    </psuz:zmPr>
                  </psuz:summaryZmObj>
                  <psuz:summaryZmObj sectionId="{5E709D19-8FD9-4392-988A-91DF0E144838}">
                    <psuz:zmPr id="{677C34FA-2CB8-4380-BB26-4E263DF4F11E}" transitionDur="1000">
                      <p166:blipFill xmlns:p166="http://schemas.microsoft.com/office/powerpoint/2016/6/main">
                        <a:blip r:embed="rId6"/>
                        <a:stretch>
                          <a:fillRect/>
                        </a:stretch>
                      </p166:blipFill>
                      <p166:spPr xmlns:p166="http://schemas.microsoft.com/office/powerpoint/2016/6/main">
                        <a:xfrm>
                          <a:off x="2373880" y="1947795"/>
                          <a:ext cx="3025700" cy="1701957"/>
                        </a:xfrm>
                        <a:prstGeom prst="rect">
                          <a:avLst/>
                        </a:prstGeom>
                        <a:ln w="3175">
                          <a:solidFill>
                            <a:prstClr val="ltGray"/>
                          </a:solidFill>
                        </a:ln>
                      </p166:spPr>
                    </psuz:zmPr>
                  </psuz:summaryZmObj>
                  <psuz:summaryZmObj sectionId="{0CA7EBD9-FAB1-441F-BDE0-16DBBACC517C}">
                    <psuz:zmPr id="{E08AD48D-618C-41F5-B132-0FF58CEE1D7B}" transitionDur="1000">
                      <p166:blipFill xmlns:p166="http://schemas.microsoft.com/office/powerpoint/2016/6/main">
                        <a:blip r:embed="rId7"/>
                        <a:stretch>
                          <a:fillRect/>
                        </a:stretch>
                      </p166:blipFill>
                      <p166:spPr xmlns:p166="http://schemas.microsoft.com/office/powerpoint/2016/6/main">
                        <a:xfrm>
                          <a:off x="5513044" y="1947795"/>
                          <a:ext cx="3025700" cy="1701957"/>
                        </a:xfrm>
                        <a:prstGeom prst="rect">
                          <a:avLst/>
                        </a:prstGeom>
                        <a:ln w="3175">
                          <a:solidFill>
                            <a:prstClr val="ltGray"/>
                          </a:solidFill>
                        </a:ln>
                      </p166:spPr>
                    </psuz:zmPr>
                  </psuz:summaryZmObj>
                  <psuz:gridLayout/>
                </psuz:summaryZm>
              </a:graphicData>
            </a:graphic>
          </p:graphicFrame>
        </mc:Choice>
        <mc:Fallback>
          <p:grpSp>
            <p:nvGrpSpPr>
              <p:cNvPr id="5" name="Summary Zoom 4">
                <a:extLst>
                  <a:ext uri="{FF2B5EF4-FFF2-40B4-BE49-F238E27FC236}">
                    <a16:creationId xmlns:a16="http://schemas.microsoft.com/office/drawing/2014/main" id="{B5A2397B-E578-452D-A502-0CC22FF20DCC}"/>
                  </a:ext>
                </a:extLst>
              </p:cNvPr>
              <p:cNvGrpSpPr>
                <a:grpSpLocks noGrp="1" noUngrp="1" noRot="1" noChangeAspect="1" noMove="1" noResize="1"/>
              </p:cNvGrpSpPr>
              <p:nvPr/>
            </p:nvGrpSpPr>
            <p:grpSpPr>
              <a:xfrm>
                <a:off x="648925" y="1534410"/>
                <a:ext cx="10912624" cy="3782126"/>
                <a:chOff x="648925" y="1534410"/>
                <a:chExt cx="10912624" cy="3782126"/>
              </a:xfrm>
            </p:grpSpPr>
            <p:pic>
              <p:nvPicPr>
                <p:cNvPr id="4" name="Picture 4">
                  <a:hlinkClick r:id="rId8"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3022805" y="1666784"/>
                  <a:ext cx="3025700" cy="1701957"/>
                </a:xfrm>
                <a:prstGeom prst="rect">
                  <a:avLst/>
                </a:prstGeom>
                <a:ln w="3175">
                  <a:solidFill>
                    <a:prstClr val="ltGray"/>
                  </a:solidFill>
                </a:ln>
              </p:spPr>
            </p:pic>
            <p:pic>
              <p:nvPicPr>
                <p:cNvPr id="7" name="Picture 7">
                  <a:hlinkClick r:id="rId9"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6161969" y="1666784"/>
                  <a:ext cx="3025700" cy="1701957"/>
                </a:xfrm>
                <a:prstGeom prst="rect">
                  <a:avLst/>
                </a:prstGeom>
                <a:ln w="3175">
                  <a:solidFill>
                    <a:prstClr val="ltGray"/>
                  </a:solidFill>
                </a:ln>
              </p:spPr>
            </p:pic>
            <p:pic>
              <p:nvPicPr>
                <p:cNvPr id="8" name="Picture 8">
                  <a:hlinkClick r:id="rId10"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3022805" y="3482205"/>
                  <a:ext cx="3025700" cy="1701957"/>
                </a:xfrm>
                <a:prstGeom prst="rect">
                  <a:avLst/>
                </a:prstGeom>
                <a:ln w="3175">
                  <a:solidFill>
                    <a:prstClr val="ltGray"/>
                  </a:solidFill>
                </a:ln>
              </p:spPr>
            </p:pic>
            <p:pic>
              <p:nvPicPr>
                <p:cNvPr id="9" name="Picture 9">
                  <a:hlinkClick r:id="rId11"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6161969" y="3482205"/>
                  <a:ext cx="3025700" cy="1701957"/>
                </a:xfrm>
                <a:prstGeom prst="rect">
                  <a:avLst/>
                </a:prstGeom>
                <a:ln w="3175">
                  <a:solidFill>
                    <a:prstClr val="ltGray"/>
                  </a:solidFill>
                </a:ln>
              </p:spPr>
            </p:pic>
          </p:grpSp>
        </mc:Fallback>
      </mc:AlternateContent>
      <mc:AlternateContent xmlns:mc="http://schemas.openxmlformats.org/markup-compatibility/2006">
        <mc:Choice xmlns:psuz="http://schemas.microsoft.com/office/powerpoint/2016/summaryzoom" Requires="psuz">
          <p:graphicFrame>
            <p:nvGraphicFramePr>
              <p:cNvPr id="14" name="Summary Zoom 13">
                <a:extLst>
                  <a:ext uri="{FF2B5EF4-FFF2-40B4-BE49-F238E27FC236}">
                    <a16:creationId xmlns:a16="http://schemas.microsoft.com/office/drawing/2014/main" id="{EF2CBF6B-7DFF-4F7A-A98D-814638AA08E8}"/>
                  </a:ext>
                </a:extLst>
              </p:cNvPr>
              <p:cNvGraphicFramePr>
                <a:graphicFrameLocks noChangeAspect="1"/>
              </p:cNvGraphicFramePr>
              <p:nvPr/>
            </p:nvGraphicFramePr>
            <p:xfrm>
              <a:off x="2931249" y="5299503"/>
              <a:ext cx="6347976" cy="1373376"/>
            </p:xfrm>
            <a:graphic>
              <a:graphicData uri="http://schemas.microsoft.com/office/powerpoint/2016/summaryzoom">
                <psuz:summaryZm>
                  <psuz:summaryZmObj sectionId="{E98A2B73-D752-4336-B6C4-C3B5BE7F60A7}" offsetFactorX="677" scaleFactorX="111111" scaleFactorY="111111">
                    <psuz:zmPr id="{5C4F8B3B-D079-4F18-84C6-B8B3159D62E2}" transitionDur="1000">
                      <p166:blipFill xmlns:p166="http://schemas.microsoft.com/office/powerpoint/2016/6/main">
                        <a:blip r:embed="rId12"/>
                        <a:stretch>
                          <a:fillRect/>
                        </a:stretch>
                      </p166:blipFill>
                      <p166:spPr xmlns:p166="http://schemas.microsoft.com/office/powerpoint/2016/6/main">
                        <a:xfrm>
                          <a:off x="1968086" y="1"/>
                          <a:ext cx="2441554" cy="1373374"/>
                        </a:xfrm>
                        <a:prstGeom prst="rect">
                          <a:avLst/>
                        </a:prstGeom>
                        <a:ln w="3175">
                          <a:solidFill>
                            <a:prstClr val="ltGray"/>
                          </a:solidFill>
                        </a:ln>
                      </p166:spPr>
                    </psuz:zmPr>
                  </psuz:summaryZmObj>
                  <psuz:gridLayout/>
                </psuz:summaryZm>
              </a:graphicData>
            </a:graphic>
          </p:graphicFrame>
        </mc:Choice>
        <mc:Fallback>
          <p:grpSp>
            <p:nvGrpSpPr>
              <p:cNvPr id="14" name="Summary Zoom 13">
                <a:extLst>
                  <a:ext uri="{FF2B5EF4-FFF2-40B4-BE49-F238E27FC236}">
                    <a16:creationId xmlns:a16="http://schemas.microsoft.com/office/drawing/2014/main" id="{EF2CBF6B-7DFF-4F7A-A98D-814638AA08E8}"/>
                  </a:ext>
                </a:extLst>
              </p:cNvPr>
              <p:cNvGrpSpPr>
                <a:grpSpLocks noGrp="1" noUngrp="1" noRot="1" noChangeAspect="1" noMove="1" noResize="1"/>
              </p:cNvGrpSpPr>
              <p:nvPr/>
            </p:nvGrpSpPr>
            <p:grpSpPr>
              <a:xfrm>
                <a:off x="2931249" y="5299503"/>
                <a:ext cx="6347976" cy="1373376"/>
                <a:chOff x="2931249" y="5299503"/>
                <a:chExt cx="6347976" cy="1373376"/>
              </a:xfrm>
            </p:grpSpPr>
            <p:pic>
              <p:nvPicPr>
                <p:cNvPr id="11" name="Picture 11">
                  <a:hlinkClick r:id="rId13" action="ppaction://hlinksldjump"/>
                </p:cNvPr>
                <p:cNvPicPr>
                  <a:picLocks noSelect="1" noRot="1" noChangeAspect="1" noMove="1" noResize="1" noEditPoints="1" noAdjustHandles="1" noChangeArrowheads="1" noChangeShapeType="1"/>
                </p:cNvPicPr>
                <p:nvPr/>
              </p:nvPicPr>
              <p:blipFill>
                <a:blip r:embed="rId12"/>
                <a:stretch>
                  <a:fillRect/>
                </a:stretch>
              </p:blipFill>
              <p:spPr>
                <a:xfrm>
                  <a:off x="4899335" y="5299504"/>
                  <a:ext cx="2441554" cy="1373374"/>
                </a:xfrm>
                <a:prstGeom prst="rect">
                  <a:avLst/>
                </a:prstGeom>
                <a:ln w="3175">
                  <a:solidFill>
                    <a:prstClr val="ltGray"/>
                  </a:solidFill>
                </a:ln>
              </p:spPr>
            </p:pic>
          </p:grpSp>
        </mc:Fallback>
      </mc:AlternateContent>
      <p:sp>
        <p:nvSpPr>
          <p:cNvPr id="3" name="Rectangle 2">
            <a:extLst>
              <a:ext uri="{FF2B5EF4-FFF2-40B4-BE49-F238E27FC236}">
                <a16:creationId xmlns:a16="http://schemas.microsoft.com/office/drawing/2014/main" id="{731164E5-B262-47CF-ACC2-3D29DF7A3454}"/>
              </a:ext>
            </a:extLst>
          </p:cNvPr>
          <p:cNvSpPr/>
          <p:nvPr/>
        </p:nvSpPr>
        <p:spPr>
          <a:xfrm rot="5400000">
            <a:off x="-1069893" y="1387480"/>
            <a:ext cx="3468756" cy="693793"/>
          </a:xfrm>
          <a:prstGeom prst="rect">
            <a:avLst/>
          </a:prstGeom>
          <a:solidFill>
            <a:srgbClr val="18724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a:extLst>
              <a:ext uri="{FF2B5EF4-FFF2-40B4-BE49-F238E27FC236}">
                <a16:creationId xmlns:a16="http://schemas.microsoft.com/office/drawing/2014/main" id="{DD332869-CD63-4F4E-A05A-759AE30BF207}"/>
              </a:ext>
            </a:extLst>
          </p:cNvPr>
          <p:cNvSpPr/>
          <p:nvPr/>
        </p:nvSpPr>
        <p:spPr>
          <a:xfrm rot="5400000">
            <a:off x="62229" y="1091539"/>
            <a:ext cx="2560980" cy="377902"/>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a:extLst>
              <a:ext uri="{FF2B5EF4-FFF2-40B4-BE49-F238E27FC236}">
                <a16:creationId xmlns:a16="http://schemas.microsoft.com/office/drawing/2014/main" id="{3C06D012-329F-499D-A72C-CCBA34F19705}"/>
              </a:ext>
            </a:extLst>
          </p:cNvPr>
          <p:cNvSpPr/>
          <p:nvPr/>
        </p:nvSpPr>
        <p:spPr>
          <a:xfrm rot="5400000">
            <a:off x="-237226" y="705459"/>
            <a:ext cx="1799800" cy="388882"/>
          </a:xfrm>
          <a:prstGeom prst="rect">
            <a:avLst/>
          </a:prstGeom>
          <a:solidFill>
            <a:srgbClr val="51943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ectangle 16">
            <a:extLst>
              <a:ext uri="{FF2B5EF4-FFF2-40B4-BE49-F238E27FC236}">
                <a16:creationId xmlns:a16="http://schemas.microsoft.com/office/drawing/2014/main" id="{190D7696-23FF-4ACF-8948-30679C1EFD57}"/>
              </a:ext>
            </a:extLst>
          </p:cNvPr>
          <p:cNvSpPr/>
          <p:nvPr/>
        </p:nvSpPr>
        <p:spPr>
          <a:xfrm rot="5400000">
            <a:off x="-82959" y="5756605"/>
            <a:ext cx="1799800" cy="388882"/>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a:extLst>
              <a:ext uri="{FF2B5EF4-FFF2-40B4-BE49-F238E27FC236}">
                <a16:creationId xmlns:a16="http://schemas.microsoft.com/office/drawing/2014/main" id="{8271F515-24D7-43FD-836E-658FA71A58BB}"/>
              </a:ext>
            </a:extLst>
          </p:cNvPr>
          <p:cNvSpPr/>
          <p:nvPr/>
        </p:nvSpPr>
        <p:spPr>
          <a:xfrm rot="5400000">
            <a:off x="-315301" y="6067412"/>
            <a:ext cx="1373376" cy="193692"/>
          </a:xfrm>
          <a:prstGeom prst="rect">
            <a:avLst/>
          </a:prstGeom>
          <a:solidFill>
            <a:srgbClr val="1E905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Rectangle 18">
            <a:extLst>
              <a:ext uri="{FF2B5EF4-FFF2-40B4-BE49-F238E27FC236}">
                <a16:creationId xmlns:a16="http://schemas.microsoft.com/office/drawing/2014/main" id="{9D7749C6-FFDB-41AE-BA67-0E4497BD7EE2}"/>
              </a:ext>
            </a:extLst>
          </p:cNvPr>
          <p:cNvSpPr/>
          <p:nvPr/>
        </p:nvSpPr>
        <p:spPr>
          <a:xfrm rot="5400000">
            <a:off x="-153173" y="4936049"/>
            <a:ext cx="3185228" cy="644566"/>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tangle 19">
            <a:extLst>
              <a:ext uri="{FF2B5EF4-FFF2-40B4-BE49-F238E27FC236}">
                <a16:creationId xmlns:a16="http://schemas.microsoft.com/office/drawing/2014/main" id="{999B7108-EB3C-42F1-9830-62129F38CE2B}"/>
              </a:ext>
            </a:extLst>
          </p:cNvPr>
          <p:cNvSpPr/>
          <p:nvPr/>
        </p:nvSpPr>
        <p:spPr>
          <a:xfrm rot="5400000">
            <a:off x="317957" y="4220560"/>
            <a:ext cx="909080" cy="299994"/>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20">
            <a:extLst>
              <a:ext uri="{FF2B5EF4-FFF2-40B4-BE49-F238E27FC236}">
                <a16:creationId xmlns:a16="http://schemas.microsoft.com/office/drawing/2014/main" id="{F1658CDE-CC1B-4778-BDBC-859B5C7B7663}"/>
              </a:ext>
            </a:extLst>
          </p:cNvPr>
          <p:cNvSpPr/>
          <p:nvPr/>
        </p:nvSpPr>
        <p:spPr>
          <a:xfrm rot="5400000" flipV="1">
            <a:off x="1077131" y="2884961"/>
            <a:ext cx="909080" cy="456777"/>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21">
            <a:extLst>
              <a:ext uri="{FF2B5EF4-FFF2-40B4-BE49-F238E27FC236}">
                <a16:creationId xmlns:a16="http://schemas.microsoft.com/office/drawing/2014/main" id="{CB9DFADF-FF48-4CF9-A7BC-59D3D71B4D69}"/>
              </a:ext>
            </a:extLst>
          </p:cNvPr>
          <p:cNvSpPr/>
          <p:nvPr/>
        </p:nvSpPr>
        <p:spPr>
          <a:xfrm rot="5400000" flipV="1">
            <a:off x="1342427" y="1754167"/>
            <a:ext cx="909080" cy="377905"/>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ectangle 23">
            <a:extLst>
              <a:ext uri="{FF2B5EF4-FFF2-40B4-BE49-F238E27FC236}">
                <a16:creationId xmlns:a16="http://schemas.microsoft.com/office/drawing/2014/main" id="{C316EB9C-4890-44B0-9F5B-76E15E1F2830}"/>
              </a:ext>
            </a:extLst>
          </p:cNvPr>
          <p:cNvSpPr/>
          <p:nvPr/>
        </p:nvSpPr>
        <p:spPr>
          <a:xfrm rot="5400000">
            <a:off x="143650" y="1088431"/>
            <a:ext cx="2390606" cy="227852"/>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tangle 24">
            <a:extLst>
              <a:ext uri="{FF2B5EF4-FFF2-40B4-BE49-F238E27FC236}">
                <a16:creationId xmlns:a16="http://schemas.microsoft.com/office/drawing/2014/main" id="{7B61B40D-14EE-4868-85BA-6A3B8E831D34}"/>
              </a:ext>
            </a:extLst>
          </p:cNvPr>
          <p:cNvSpPr/>
          <p:nvPr/>
        </p:nvSpPr>
        <p:spPr>
          <a:xfrm rot="5400000">
            <a:off x="1237080" y="2962351"/>
            <a:ext cx="589180" cy="301997"/>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extLst>
              <a:ext uri="{FF2B5EF4-FFF2-40B4-BE49-F238E27FC236}">
                <a16:creationId xmlns:a16="http://schemas.microsoft.com/office/drawing/2014/main" id="{25B5B5E2-E325-4059-B349-55389E9ACB70}"/>
              </a:ext>
            </a:extLst>
          </p:cNvPr>
          <p:cNvSpPr/>
          <p:nvPr/>
        </p:nvSpPr>
        <p:spPr>
          <a:xfrm rot="5400000">
            <a:off x="-372413" y="5531133"/>
            <a:ext cx="2378705" cy="260920"/>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Rectangle 27">
            <a:extLst>
              <a:ext uri="{FF2B5EF4-FFF2-40B4-BE49-F238E27FC236}">
                <a16:creationId xmlns:a16="http://schemas.microsoft.com/office/drawing/2014/main" id="{22CC61A7-AEFD-477A-9F53-1C32CC44056C}"/>
              </a:ext>
            </a:extLst>
          </p:cNvPr>
          <p:cNvSpPr/>
          <p:nvPr/>
        </p:nvSpPr>
        <p:spPr>
          <a:xfrm rot="5400000">
            <a:off x="-731016" y="5793878"/>
            <a:ext cx="1936012" cy="264416"/>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Rectangle 28">
            <a:extLst>
              <a:ext uri="{FF2B5EF4-FFF2-40B4-BE49-F238E27FC236}">
                <a16:creationId xmlns:a16="http://schemas.microsoft.com/office/drawing/2014/main" id="{AAE88C67-F3D0-4836-9A08-0AE207372CB3}"/>
              </a:ext>
            </a:extLst>
          </p:cNvPr>
          <p:cNvSpPr/>
          <p:nvPr/>
        </p:nvSpPr>
        <p:spPr>
          <a:xfrm rot="5400000">
            <a:off x="-747096" y="2945163"/>
            <a:ext cx="2092638" cy="388882"/>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extLst>
              <a:ext uri="{FF2B5EF4-FFF2-40B4-BE49-F238E27FC236}">
                <a16:creationId xmlns:a16="http://schemas.microsoft.com/office/drawing/2014/main" id="{8B39CCA7-19E4-41EC-9ADF-2EA93475AA2B}"/>
              </a:ext>
            </a:extLst>
          </p:cNvPr>
          <p:cNvSpPr/>
          <p:nvPr/>
        </p:nvSpPr>
        <p:spPr>
          <a:xfrm rot="5400000">
            <a:off x="790617" y="2902010"/>
            <a:ext cx="2390606" cy="227852"/>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tangle 30">
            <a:extLst>
              <a:ext uri="{FF2B5EF4-FFF2-40B4-BE49-F238E27FC236}">
                <a16:creationId xmlns:a16="http://schemas.microsoft.com/office/drawing/2014/main" id="{D106B8E7-C7DA-43F3-B11E-3D9A64D10462}"/>
              </a:ext>
            </a:extLst>
          </p:cNvPr>
          <p:cNvSpPr/>
          <p:nvPr/>
        </p:nvSpPr>
        <p:spPr>
          <a:xfrm rot="5400000">
            <a:off x="1280016" y="6067274"/>
            <a:ext cx="1641922" cy="462514"/>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a:extLst>
              <a:ext uri="{FF2B5EF4-FFF2-40B4-BE49-F238E27FC236}">
                <a16:creationId xmlns:a16="http://schemas.microsoft.com/office/drawing/2014/main" id="{8C4741E4-8772-4C26-923F-BF5C1B88FAC0}"/>
              </a:ext>
            </a:extLst>
          </p:cNvPr>
          <p:cNvSpPr/>
          <p:nvPr/>
        </p:nvSpPr>
        <p:spPr>
          <a:xfrm rot="5400000">
            <a:off x="1126485" y="5410668"/>
            <a:ext cx="2390605" cy="540151"/>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7F7A3DAE-26B5-4BCD-BFBF-B5C99A73625A}"/>
              </a:ext>
            </a:extLst>
          </p:cNvPr>
          <p:cNvSpPr/>
          <p:nvPr/>
        </p:nvSpPr>
        <p:spPr>
          <a:xfrm rot="5400000">
            <a:off x="1555879" y="5547777"/>
            <a:ext cx="1416823" cy="423562"/>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Rectangle 33">
            <a:extLst>
              <a:ext uri="{FF2B5EF4-FFF2-40B4-BE49-F238E27FC236}">
                <a16:creationId xmlns:a16="http://schemas.microsoft.com/office/drawing/2014/main" id="{866C7933-2432-44B4-A872-CF747C7AF200}"/>
              </a:ext>
            </a:extLst>
          </p:cNvPr>
          <p:cNvSpPr/>
          <p:nvPr/>
        </p:nvSpPr>
        <p:spPr>
          <a:xfrm rot="5400000">
            <a:off x="1275873" y="816085"/>
            <a:ext cx="2091827" cy="253797"/>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Rectangle 34">
            <a:extLst>
              <a:ext uri="{FF2B5EF4-FFF2-40B4-BE49-F238E27FC236}">
                <a16:creationId xmlns:a16="http://schemas.microsoft.com/office/drawing/2014/main" id="{B4DB96BE-25A0-493C-8D92-08203B3D5BCC}"/>
              </a:ext>
            </a:extLst>
          </p:cNvPr>
          <p:cNvSpPr/>
          <p:nvPr/>
        </p:nvSpPr>
        <p:spPr>
          <a:xfrm rot="5400000">
            <a:off x="1497654" y="190227"/>
            <a:ext cx="725882" cy="324339"/>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tangle 35">
            <a:extLst>
              <a:ext uri="{FF2B5EF4-FFF2-40B4-BE49-F238E27FC236}">
                <a16:creationId xmlns:a16="http://schemas.microsoft.com/office/drawing/2014/main" id="{38FC0A48-4170-4D77-BB8E-9EB13E197A0B}"/>
              </a:ext>
            </a:extLst>
          </p:cNvPr>
          <p:cNvSpPr/>
          <p:nvPr/>
        </p:nvSpPr>
        <p:spPr>
          <a:xfrm rot="5400000" flipH="1">
            <a:off x="1780702" y="455248"/>
            <a:ext cx="356872" cy="324342"/>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a:extLst>
              <a:ext uri="{FF2B5EF4-FFF2-40B4-BE49-F238E27FC236}">
                <a16:creationId xmlns:a16="http://schemas.microsoft.com/office/drawing/2014/main" id="{6F7EB59A-8EC9-4FFF-A72A-59D9E5691905}"/>
              </a:ext>
            </a:extLst>
          </p:cNvPr>
          <p:cNvSpPr/>
          <p:nvPr/>
        </p:nvSpPr>
        <p:spPr>
          <a:xfrm rot="5400000" flipH="1">
            <a:off x="1618531" y="565572"/>
            <a:ext cx="356872" cy="324342"/>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id="{A19B1078-D451-44DC-86A4-A3DDD47D9994}"/>
              </a:ext>
            </a:extLst>
          </p:cNvPr>
          <p:cNvSpPr/>
          <p:nvPr/>
        </p:nvSpPr>
        <p:spPr>
          <a:xfrm rot="5400000" flipH="1">
            <a:off x="1770931" y="717972"/>
            <a:ext cx="356872" cy="324342"/>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tangle 38">
            <a:extLst>
              <a:ext uri="{FF2B5EF4-FFF2-40B4-BE49-F238E27FC236}">
                <a16:creationId xmlns:a16="http://schemas.microsoft.com/office/drawing/2014/main" id="{1CED5E2C-2CC6-4CA9-AF65-DEB0E650C149}"/>
              </a:ext>
            </a:extLst>
          </p:cNvPr>
          <p:cNvSpPr/>
          <p:nvPr/>
        </p:nvSpPr>
        <p:spPr>
          <a:xfrm rot="5400000">
            <a:off x="1730149" y="6521282"/>
            <a:ext cx="2390605" cy="303194"/>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0" name="Rectangle 39">
            <a:extLst>
              <a:ext uri="{FF2B5EF4-FFF2-40B4-BE49-F238E27FC236}">
                <a16:creationId xmlns:a16="http://schemas.microsoft.com/office/drawing/2014/main" id="{A5238130-F462-44DF-B475-C050824C5B8D}"/>
              </a:ext>
            </a:extLst>
          </p:cNvPr>
          <p:cNvSpPr/>
          <p:nvPr/>
        </p:nvSpPr>
        <p:spPr>
          <a:xfrm rot="5400000">
            <a:off x="2157495" y="7489381"/>
            <a:ext cx="2390605" cy="145728"/>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Rectangle 40">
            <a:extLst>
              <a:ext uri="{FF2B5EF4-FFF2-40B4-BE49-F238E27FC236}">
                <a16:creationId xmlns:a16="http://schemas.microsoft.com/office/drawing/2014/main" id="{E8F8F5A1-A9B2-4C7E-9CCB-5D7BA35C5FCF}"/>
              </a:ext>
            </a:extLst>
          </p:cNvPr>
          <p:cNvSpPr/>
          <p:nvPr/>
        </p:nvSpPr>
        <p:spPr>
          <a:xfrm rot="5400000">
            <a:off x="3185437" y="6521275"/>
            <a:ext cx="2390605" cy="303195"/>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Rectangle 41">
            <a:extLst>
              <a:ext uri="{FF2B5EF4-FFF2-40B4-BE49-F238E27FC236}">
                <a16:creationId xmlns:a16="http://schemas.microsoft.com/office/drawing/2014/main" id="{8E1958F8-D857-4883-8B55-04CC4A60FC64}"/>
              </a:ext>
            </a:extLst>
          </p:cNvPr>
          <p:cNvSpPr/>
          <p:nvPr/>
        </p:nvSpPr>
        <p:spPr>
          <a:xfrm rot="5400000">
            <a:off x="1848503" y="6948332"/>
            <a:ext cx="2390605" cy="3031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DF80E568-2B2B-4715-BDF5-16F23FA11A3D}"/>
              </a:ext>
            </a:extLst>
          </p:cNvPr>
          <p:cNvSpPr/>
          <p:nvPr/>
        </p:nvSpPr>
        <p:spPr>
          <a:xfrm rot="5400000">
            <a:off x="2361889" y="6484804"/>
            <a:ext cx="2390605" cy="145730"/>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Rectangle 43">
            <a:extLst>
              <a:ext uri="{FF2B5EF4-FFF2-40B4-BE49-F238E27FC236}">
                <a16:creationId xmlns:a16="http://schemas.microsoft.com/office/drawing/2014/main" id="{F140EB94-2448-4046-BFB5-0E2E858CC484}"/>
              </a:ext>
            </a:extLst>
          </p:cNvPr>
          <p:cNvSpPr/>
          <p:nvPr/>
        </p:nvSpPr>
        <p:spPr>
          <a:xfrm rot="5400000">
            <a:off x="2421931" y="6830965"/>
            <a:ext cx="2390605" cy="145730"/>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Rectangle 44">
            <a:extLst>
              <a:ext uri="{FF2B5EF4-FFF2-40B4-BE49-F238E27FC236}">
                <a16:creationId xmlns:a16="http://schemas.microsoft.com/office/drawing/2014/main" id="{4336D99E-ED50-4350-858B-23BF2009DB68}"/>
              </a:ext>
            </a:extLst>
          </p:cNvPr>
          <p:cNvSpPr/>
          <p:nvPr/>
        </p:nvSpPr>
        <p:spPr>
          <a:xfrm rot="5400000">
            <a:off x="2709243" y="7182234"/>
            <a:ext cx="2498513" cy="303194"/>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Rectangle 45">
            <a:extLst>
              <a:ext uri="{FF2B5EF4-FFF2-40B4-BE49-F238E27FC236}">
                <a16:creationId xmlns:a16="http://schemas.microsoft.com/office/drawing/2014/main" id="{FFE34529-655B-4C6F-BF78-A8AB69DB69DB}"/>
              </a:ext>
            </a:extLst>
          </p:cNvPr>
          <p:cNvSpPr/>
          <p:nvPr/>
        </p:nvSpPr>
        <p:spPr>
          <a:xfrm rot="5400000" flipV="1">
            <a:off x="1909286" y="3740847"/>
            <a:ext cx="909080" cy="377905"/>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Rectangle 46">
            <a:extLst>
              <a:ext uri="{FF2B5EF4-FFF2-40B4-BE49-F238E27FC236}">
                <a16:creationId xmlns:a16="http://schemas.microsoft.com/office/drawing/2014/main" id="{579AF4DB-9E33-465E-9BF9-79F568310655}"/>
              </a:ext>
            </a:extLst>
          </p:cNvPr>
          <p:cNvSpPr/>
          <p:nvPr/>
        </p:nvSpPr>
        <p:spPr>
          <a:xfrm rot="5400000" flipV="1">
            <a:off x="1989520" y="3604034"/>
            <a:ext cx="909080" cy="377905"/>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8" name="Rectangle 47">
            <a:extLst>
              <a:ext uri="{FF2B5EF4-FFF2-40B4-BE49-F238E27FC236}">
                <a16:creationId xmlns:a16="http://schemas.microsoft.com/office/drawing/2014/main" id="{5C2C5175-1CD3-4D16-9E17-9D1F03E856E9}"/>
              </a:ext>
            </a:extLst>
          </p:cNvPr>
          <p:cNvSpPr/>
          <p:nvPr/>
        </p:nvSpPr>
        <p:spPr>
          <a:xfrm rot="5400000" flipV="1">
            <a:off x="2178773" y="3664612"/>
            <a:ext cx="522793" cy="257058"/>
          </a:xfrm>
          <a:prstGeom prst="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tangle 48">
            <a:extLst>
              <a:ext uri="{FF2B5EF4-FFF2-40B4-BE49-F238E27FC236}">
                <a16:creationId xmlns:a16="http://schemas.microsoft.com/office/drawing/2014/main" id="{269DFE11-67FD-415F-A4FE-5F496974F3C8}"/>
              </a:ext>
            </a:extLst>
          </p:cNvPr>
          <p:cNvSpPr/>
          <p:nvPr/>
        </p:nvSpPr>
        <p:spPr>
          <a:xfrm rot="5400000">
            <a:off x="1601861" y="2031934"/>
            <a:ext cx="2110691" cy="227851"/>
          </a:xfrm>
          <a:prstGeom prst="rect">
            <a:avLst/>
          </a:prstGeom>
          <a:solidFill>
            <a:srgbClr val="19754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Rectangle 49">
            <a:extLst>
              <a:ext uri="{FF2B5EF4-FFF2-40B4-BE49-F238E27FC236}">
                <a16:creationId xmlns:a16="http://schemas.microsoft.com/office/drawing/2014/main" id="{2CE44CAF-7CDC-47E4-9305-65395AD06E89}"/>
              </a:ext>
            </a:extLst>
          </p:cNvPr>
          <p:cNvSpPr/>
          <p:nvPr/>
        </p:nvSpPr>
        <p:spPr>
          <a:xfrm rot="5400000">
            <a:off x="1814495" y="2070028"/>
            <a:ext cx="1345001" cy="37790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4" name="Rectangle 83">
            <a:extLst>
              <a:ext uri="{FF2B5EF4-FFF2-40B4-BE49-F238E27FC236}">
                <a16:creationId xmlns:a16="http://schemas.microsoft.com/office/drawing/2014/main" id="{9F8D7A31-AAE8-4358-A1AC-70E1A17FDD01}"/>
              </a:ext>
            </a:extLst>
          </p:cNvPr>
          <p:cNvSpPr/>
          <p:nvPr/>
        </p:nvSpPr>
        <p:spPr>
          <a:xfrm rot="5400000">
            <a:off x="10160301" y="2129868"/>
            <a:ext cx="1799800" cy="388882"/>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5" name="Rectangle 84">
            <a:extLst>
              <a:ext uri="{FF2B5EF4-FFF2-40B4-BE49-F238E27FC236}">
                <a16:creationId xmlns:a16="http://schemas.microsoft.com/office/drawing/2014/main" id="{97BA5ADE-D5EF-4BF8-BDC6-BD6AC861A673}"/>
              </a:ext>
            </a:extLst>
          </p:cNvPr>
          <p:cNvSpPr/>
          <p:nvPr/>
        </p:nvSpPr>
        <p:spPr>
          <a:xfrm rot="5400000">
            <a:off x="10090087" y="1309312"/>
            <a:ext cx="3185228" cy="644566"/>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6" name="Rectangle 85">
            <a:extLst>
              <a:ext uri="{FF2B5EF4-FFF2-40B4-BE49-F238E27FC236}">
                <a16:creationId xmlns:a16="http://schemas.microsoft.com/office/drawing/2014/main" id="{EFE81138-59F3-4B2F-BA50-7968DB64D940}"/>
              </a:ext>
            </a:extLst>
          </p:cNvPr>
          <p:cNvSpPr/>
          <p:nvPr/>
        </p:nvSpPr>
        <p:spPr>
          <a:xfrm rot="5400000">
            <a:off x="10561217" y="593823"/>
            <a:ext cx="909080" cy="299994"/>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7" name="Rectangle 86">
            <a:extLst>
              <a:ext uri="{FF2B5EF4-FFF2-40B4-BE49-F238E27FC236}">
                <a16:creationId xmlns:a16="http://schemas.microsoft.com/office/drawing/2014/main" id="{BCEB1913-3689-4031-931B-7A9E87B90AA6}"/>
              </a:ext>
            </a:extLst>
          </p:cNvPr>
          <p:cNvSpPr/>
          <p:nvPr/>
        </p:nvSpPr>
        <p:spPr>
          <a:xfrm rot="5400000">
            <a:off x="9870847" y="1904396"/>
            <a:ext cx="2378705" cy="26092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1" name="Rectangle 90">
            <a:extLst>
              <a:ext uri="{FF2B5EF4-FFF2-40B4-BE49-F238E27FC236}">
                <a16:creationId xmlns:a16="http://schemas.microsoft.com/office/drawing/2014/main" id="{69208B80-A139-4F16-A299-C290FBF8688B}"/>
              </a:ext>
            </a:extLst>
          </p:cNvPr>
          <p:cNvSpPr/>
          <p:nvPr/>
        </p:nvSpPr>
        <p:spPr>
          <a:xfrm rot="5400000">
            <a:off x="7104641" y="5876331"/>
            <a:ext cx="1641922" cy="462514"/>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Rectangle 91">
            <a:extLst>
              <a:ext uri="{FF2B5EF4-FFF2-40B4-BE49-F238E27FC236}">
                <a16:creationId xmlns:a16="http://schemas.microsoft.com/office/drawing/2014/main" id="{A09438ED-103D-4436-BE23-922EEF6922E8}"/>
              </a:ext>
            </a:extLst>
          </p:cNvPr>
          <p:cNvSpPr/>
          <p:nvPr/>
        </p:nvSpPr>
        <p:spPr>
          <a:xfrm rot="5400000">
            <a:off x="7661118" y="6533775"/>
            <a:ext cx="1416823" cy="183289"/>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3" name="Rectangle 92">
            <a:extLst>
              <a:ext uri="{FF2B5EF4-FFF2-40B4-BE49-F238E27FC236}">
                <a16:creationId xmlns:a16="http://schemas.microsoft.com/office/drawing/2014/main" id="{1AD5EF28-78F1-4DFA-9BA8-87597AF19811}"/>
              </a:ext>
            </a:extLst>
          </p:cNvPr>
          <p:cNvSpPr/>
          <p:nvPr/>
        </p:nvSpPr>
        <p:spPr>
          <a:xfrm rot="5400000">
            <a:off x="9249186" y="5681516"/>
            <a:ext cx="2390605" cy="303194"/>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4" name="Rectangle 93">
            <a:extLst>
              <a:ext uri="{FF2B5EF4-FFF2-40B4-BE49-F238E27FC236}">
                <a16:creationId xmlns:a16="http://schemas.microsoft.com/office/drawing/2014/main" id="{2A91756A-F7D6-4CB9-9223-2D442A530BD6}"/>
              </a:ext>
            </a:extLst>
          </p:cNvPr>
          <p:cNvSpPr/>
          <p:nvPr/>
        </p:nvSpPr>
        <p:spPr>
          <a:xfrm rot="5400000">
            <a:off x="9676532" y="6649615"/>
            <a:ext cx="2390605" cy="145728"/>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5" name="Rectangle 94">
            <a:extLst>
              <a:ext uri="{FF2B5EF4-FFF2-40B4-BE49-F238E27FC236}">
                <a16:creationId xmlns:a16="http://schemas.microsoft.com/office/drawing/2014/main" id="{6987123F-693B-42D1-B0F8-15CEE516AAFA}"/>
              </a:ext>
            </a:extLst>
          </p:cNvPr>
          <p:cNvSpPr/>
          <p:nvPr/>
        </p:nvSpPr>
        <p:spPr>
          <a:xfrm rot="5400000">
            <a:off x="10704474" y="5681509"/>
            <a:ext cx="2390605" cy="303195"/>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6" name="Rectangle 95">
            <a:extLst>
              <a:ext uri="{FF2B5EF4-FFF2-40B4-BE49-F238E27FC236}">
                <a16:creationId xmlns:a16="http://schemas.microsoft.com/office/drawing/2014/main" id="{46885553-33C7-4EA9-861B-CA1370CE2C38}"/>
              </a:ext>
            </a:extLst>
          </p:cNvPr>
          <p:cNvSpPr/>
          <p:nvPr/>
        </p:nvSpPr>
        <p:spPr>
          <a:xfrm rot="5400000">
            <a:off x="9367540" y="6108566"/>
            <a:ext cx="2390605" cy="303194"/>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7" name="Rectangle 96">
            <a:extLst>
              <a:ext uri="{FF2B5EF4-FFF2-40B4-BE49-F238E27FC236}">
                <a16:creationId xmlns:a16="http://schemas.microsoft.com/office/drawing/2014/main" id="{3ADE756B-E66E-4F62-9370-729C7CCAE463}"/>
              </a:ext>
            </a:extLst>
          </p:cNvPr>
          <p:cNvSpPr/>
          <p:nvPr/>
        </p:nvSpPr>
        <p:spPr>
          <a:xfrm rot="5400000">
            <a:off x="9880926" y="5645038"/>
            <a:ext cx="2390605" cy="145730"/>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8" name="Rectangle 97">
            <a:extLst>
              <a:ext uri="{FF2B5EF4-FFF2-40B4-BE49-F238E27FC236}">
                <a16:creationId xmlns:a16="http://schemas.microsoft.com/office/drawing/2014/main" id="{BE0FB447-825D-4354-9212-E51528A19D0C}"/>
              </a:ext>
            </a:extLst>
          </p:cNvPr>
          <p:cNvSpPr/>
          <p:nvPr/>
        </p:nvSpPr>
        <p:spPr>
          <a:xfrm rot="5400000">
            <a:off x="9940968" y="5991199"/>
            <a:ext cx="2390605" cy="145730"/>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9" name="Rectangle 98">
            <a:extLst>
              <a:ext uri="{FF2B5EF4-FFF2-40B4-BE49-F238E27FC236}">
                <a16:creationId xmlns:a16="http://schemas.microsoft.com/office/drawing/2014/main" id="{481A290A-D001-45DB-9437-47C339F6C12B}"/>
              </a:ext>
            </a:extLst>
          </p:cNvPr>
          <p:cNvSpPr/>
          <p:nvPr/>
        </p:nvSpPr>
        <p:spPr>
          <a:xfrm rot="5400000">
            <a:off x="10228280" y="6342468"/>
            <a:ext cx="2498513" cy="303194"/>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0" name="Rectangle 99">
            <a:extLst>
              <a:ext uri="{FF2B5EF4-FFF2-40B4-BE49-F238E27FC236}">
                <a16:creationId xmlns:a16="http://schemas.microsoft.com/office/drawing/2014/main" id="{C5EB276F-8321-4CCA-B43B-D439BF4B72E6}"/>
              </a:ext>
            </a:extLst>
          </p:cNvPr>
          <p:cNvSpPr/>
          <p:nvPr/>
        </p:nvSpPr>
        <p:spPr>
          <a:xfrm rot="5400000">
            <a:off x="7005775" y="6194100"/>
            <a:ext cx="1492806" cy="523330"/>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1" name="Rectangle 100">
            <a:extLst>
              <a:ext uri="{FF2B5EF4-FFF2-40B4-BE49-F238E27FC236}">
                <a16:creationId xmlns:a16="http://schemas.microsoft.com/office/drawing/2014/main" id="{B82A3E7E-AC18-47EA-89DF-7CF3FF5224F9}"/>
              </a:ext>
            </a:extLst>
          </p:cNvPr>
          <p:cNvSpPr/>
          <p:nvPr/>
        </p:nvSpPr>
        <p:spPr>
          <a:xfrm rot="5400000" flipV="1">
            <a:off x="11347420" y="3679646"/>
            <a:ext cx="426058" cy="611666"/>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2" name="Rectangle 101">
            <a:extLst>
              <a:ext uri="{FF2B5EF4-FFF2-40B4-BE49-F238E27FC236}">
                <a16:creationId xmlns:a16="http://schemas.microsoft.com/office/drawing/2014/main" id="{09667BA9-1B46-4CB8-A972-EEB55910A43B}"/>
              </a:ext>
            </a:extLst>
          </p:cNvPr>
          <p:cNvSpPr/>
          <p:nvPr/>
        </p:nvSpPr>
        <p:spPr>
          <a:xfrm rot="5400000" flipV="1">
            <a:off x="11621943" y="2843360"/>
            <a:ext cx="426058" cy="506050"/>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3" name="Rectangle 102">
            <a:extLst>
              <a:ext uri="{FF2B5EF4-FFF2-40B4-BE49-F238E27FC236}">
                <a16:creationId xmlns:a16="http://schemas.microsoft.com/office/drawing/2014/main" id="{9D7BFF62-C956-47D4-A5B2-931DEB82910F}"/>
              </a:ext>
            </a:extLst>
          </p:cNvPr>
          <p:cNvSpPr/>
          <p:nvPr/>
        </p:nvSpPr>
        <p:spPr>
          <a:xfrm rot="5400000">
            <a:off x="11422381" y="3783280"/>
            <a:ext cx="276132" cy="404398"/>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4" name="Rectangle 103">
            <a:extLst>
              <a:ext uri="{FF2B5EF4-FFF2-40B4-BE49-F238E27FC236}">
                <a16:creationId xmlns:a16="http://schemas.microsoft.com/office/drawing/2014/main" id="{8C4407BB-A9BD-40B5-97AC-4CAE84062E45}"/>
              </a:ext>
            </a:extLst>
          </p:cNvPr>
          <p:cNvSpPr/>
          <p:nvPr/>
        </p:nvSpPr>
        <p:spPr>
          <a:xfrm rot="5400000">
            <a:off x="10732775" y="3294567"/>
            <a:ext cx="1120394" cy="305112"/>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5" name="Rectangle 104">
            <a:extLst>
              <a:ext uri="{FF2B5EF4-FFF2-40B4-BE49-F238E27FC236}">
                <a16:creationId xmlns:a16="http://schemas.microsoft.com/office/drawing/2014/main" id="{3DFA1B24-4A33-42BB-84EF-ED353DECED4B}"/>
              </a:ext>
            </a:extLst>
          </p:cNvPr>
          <p:cNvSpPr/>
          <p:nvPr/>
        </p:nvSpPr>
        <p:spPr>
          <a:xfrm rot="5400000">
            <a:off x="8553586" y="6251285"/>
            <a:ext cx="623169" cy="590261"/>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6" name="Rectangle 105">
            <a:extLst>
              <a:ext uri="{FF2B5EF4-FFF2-40B4-BE49-F238E27FC236}">
                <a16:creationId xmlns:a16="http://schemas.microsoft.com/office/drawing/2014/main" id="{9FD2D54E-E1F5-4B92-A1D2-C8DC87984014}"/>
              </a:ext>
            </a:extLst>
          </p:cNvPr>
          <p:cNvSpPr/>
          <p:nvPr/>
        </p:nvSpPr>
        <p:spPr>
          <a:xfrm rot="5400000">
            <a:off x="10082595" y="3847979"/>
            <a:ext cx="1120394" cy="723306"/>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8" name="Rectangle 107">
            <a:extLst>
              <a:ext uri="{FF2B5EF4-FFF2-40B4-BE49-F238E27FC236}">
                <a16:creationId xmlns:a16="http://schemas.microsoft.com/office/drawing/2014/main" id="{DCC0045A-31C7-47D1-9C3A-568198A7DC84}"/>
              </a:ext>
            </a:extLst>
          </p:cNvPr>
          <p:cNvSpPr/>
          <p:nvPr/>
        </p:nvSpPr>
        <p:spPr>
          <a:xfrm rot="5400000" flipV="1">
            <a:off x="9001919" y="5576846"/>
            <a:ext cx="426058" cy="506050"/>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9" name="Rectangle 108">
            <a:extLst>
              <a:ext uri="{FF2B5EF4-FFF2-40B4-BE49-F238E27FC236}">
                <a16:creationId xmlns:a16="http://schemas.microsoft.com/office/drawing/2014/main" id="{147002C4-A296-437F-BE54-B1D2E03B04DF}"/>
              </a:ext>
            </a:extLst>
          </p:cNvPr>
          <p:cNvSpPr/>
          <p:nvPr/>
        </p:nvSpPr>
        <p:spPr>
          <a:xfrm rot="5400000" flipV="1">
            <a:off x="9051404" y="5418981"/>
            <a:ext cx="426058" cy="506050"/>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0" name="Rectangle 109">
            <a:extLst>
              <a:ext uri="{FF2B5EF4-FFF2-40B4-BE49-F238E27FC236}">
                <a16:creationId xmlns:a16="http://schemas.microsoft.com/office/drawing/2014/main" id="{C9695FEC-D0E4-4582-BCEE-F6DA6EF4FD9C}"/>
              </a:ext>
            </a:extLst>
          </p:cNvPr>
          <p:cNvSpPr/>
          <p:nvPr/>
        </p:nvSpPr>
        <p:spPr>
          <a:xfrm rot="5400000" flipV="1">
            <a:off x="9168781" y="5521100"/>
            <a:ext cx="245020" cy="344226"/>
          </a:xfrm>
          <a:prstGeom prst="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2" name="Rectangle 121">
            <a:extLst>
              <a:ext uri="{FF2B5EF4-FFF2-40B4-BE49-F238E27FC236}">
                <a16:creationId xmlns:a16="http://schemas.microsoft.com/office/drawing/2014/main" id="{EBBDFE37-FE58-4512-A9D7-1251162C1BFA}"/>
              </a:ext>
            </a:extLst>
          </p:cNvPr>
          <p:cNvSpPr/>
          <p:nvPr/>
        </p:nvSpPr>
        <p:spPr>
          <a:xfrm rot="5400000">
            <a:off x="8644372" y="6158724"/>
            <a:ext cx="623169" cy="590261"/>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3" name="Rectangle 122">
            <a:extLst>
              <a:ext uri="{FF2B5EF4-FFF2-40B4-BE49-F238E27FC236}">
                <a16:creationId xmlns:a16="http://schemas.microsoft.com/office/drawing/2014/main" id="{8A113E46-59BD-4CB8-BE17-5C3F28140FC0}"/>
              </a:ext>
            </a:extLst>
          </p:cNvPr>
          <p:cNvSpPr/>
          <p:nvPr/>
        </p:nvSpPr>
        <p:spPr>
          <a:xfrm rot="5400000">
            <a:off x="8299764" y="5841238"/>
            <a:ext cx="836405" cy="289906"/>
          </a:xfrm>
          <a:prstGeom prst="rect">
            <a:avLst/>
          </a:prstGeom>
          <a:solidFill>
            <a:srgbClr val="13593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5" name="Rectangle 124">
            <a:extLst>
              <a:ext uri="{FF2B5EF4-FFF2-40B4-BE49-F238E27FC236}">
                <a16:creationId xmlns:a16="http://schemas.microsoft.com/office/drawing/2014/main" id="{499AD3D6-2743-4942-9051-34D1FBCC6E26}"/>
              </a:ext>
            </a:extLst>
          </p:cNvPr>
          <p:cNvSpPr/>
          <p:nvPr/>
        </p:nvSpPr>
        <p:spPr>
          <a:xfrm rot="5400000">
            <a:off x="7401954" y="4508552"/>
            <a:ext cx="4958980" cy="462514"/>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6" name="Rectangle 125">
            <a:extLst>
              <a:ext uri="{FF2B5EF4-FFF2-40B4-BE49-F238E27FC236}">
                <a16:creationId xmlns:a16="http://schemas.microsoft.com/office/drawing/2014/main" id="{90B7FFF0-11FB-440F-B4CE-A948DD577398}"/>
              </a:ext>
            </a:extLst>
          </p:cNvPr>
          <p:cNvSpPr/>
          <p:nvPr/>
        </p:nvSpPr>
        <p:spPr>
          <a:xfrm rot="5400000">
            <a:off x="7605082" y="4708209"/>
            <a:ext cx="4550699" cy="256245"/>
          </a:xfrm>
          <a:prstGeom prst="rect">
            <a:avLst/>
          </a:prstGeom>
          <a:solidFill>
            <a:schemeClr val="accent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7" name="Rectangle 126">
            <a:extLst>
              <a:ext uri="{FF2B5EF4-FFF2-40B4-BE49-F238E27FC236}">
                <a16:creationId xmlns:a16="http://schemas.microsoft.com/office/drawing/2014/main" id="{90C333A8-BC05-41B9-A5EA-0535BBB70A57}"/>
              </a:ext>
            </a:extLst>
          </p:cNvPr>
          <p:cNvSpPr/>
          <p:nvPr/>
        </p:nvSpPr>
        <p:spPr>
          <a:xfrm rot="5400000">
            <a:off x="8397702" y="1834132"/>
            <a:ext cx="4149202" cy="541611"/>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8" name="Rectangle 127">
            <a:extLst>
              <a:ext uri="{FF2B5EF4-FFF2-40B4-BE49-F238E27FC236}">
                <a16:creationId xmlns:a16="http://schemas.microsoft.com/office/drawing/2014/main" id="{6DC64479-5081-4725-9A08-0A35CE807E73}"/>
              </a:ext>
            </a:extLst>
          </p:cNvPr>
          <p:cNvSpPr/>
          <p:nvPr/>
        </p:nvSpPr>
        <p:spPr>
          <a:xfrm rot="5400000">
            <a:off x="10262475" y="3677039"/>
            <a:ext cx="639137" cy="594071"/>
          </a:xfrm>
          <a:prstGeom prst="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9" name="Rectangle 128">
            <a:extLst>
              <a:ext uri="{FF2B5EF4-FFF2-40B4-BE49-F238E27FC236}">
                <a16:creationId xmlns:a16="http://schemas.microsoft.com/office/drawing/2014/main" id="{FE9DD11E-7CB8-4330-8C35-0706C425522C}"/>
              </a:ext>
            </a:extLst>
          </p:cNvPr>
          <p:cNvSpPr/>
          <p:nvPr/>
        </p:nvSpPr>
        <p:spPr>
          <a:xfrm rot="5400000">
            <a:off x="9025277" y="642639"/>
            <a:ext cx="2095339" cy="788975"/>
          </a:xfrm>
          <a:prstGeom prst="rect">
            <a:avLst/>
          </a:prstGeom>
          <a:solidFill>
            <a:srgbClr val="51943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0" name="Rectangle 129">
            <a:extLst>
              <a:ext uri="{FF2B5EF4-FFF2-40B4-BE49-F238E27FC236}">
                <a16:creationId xmlns:a16="http://schemas.microsoft.com/office/drawing/2014/main" id="{DD393118-6866-45FF-81CC-54F07B9467E0}"/>
              </a:ext>
            </a:extLst>
          </p:cNvPr>
          <p:cNvSpPr/>
          <p:nvPr/>
        </p:nvSpPr>
        <p:spPr>
          <a:xfrm rot="5400000">
            <a:off x="7804089" y="2820563"/>
            <a:ext cx="3185228" cy="265260"/>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C000"/>
              </a:solidFill>
            </a:endParaRPr>
          </a:p>
        </p:txBody>
      </p:sp>
      <p:sp>
        <p:nvSpPr>
          <p:cNvPr id="131" name="Rectangle 130">
            <a:extLst>
              <a:ext uri="{FF2B5EF4-FFF2-40B4-BE49-F238E27FC236}">
                <a16:creationId xmlns:a16="http://schemas.microsoft.com/office/drawing/2014/main" id="{FDC0BCDC-E522-4307-9527-09080A431402}"/>
              </a:ext>
            </a:extLst>
          </p:cNvPr>
          <p:cNvSpPr/>
          <p:nvPr/>
        </p:nvSpPr>
        <p:spPr>
          <a:xfrm rot="5400000">
            <a:off x="8834711" y="4285777"/>
            <a:ext cx="1578909" cy="552259"/>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C000"/>
              </a:solidFill>
            </a:endParaRPr>
          </a:p>
        </p:txBody>
      </p:sp>
    </p:spTree>
    <p:extLst>
      <p:ext uri="{BB962C8B-B14F-4D97-AF65-F5344CB8AC3E}">
        <p14:creationId xmlns:p14="http://schemas.microsoft.com/office/powerpoint/2010/main" val="4021705058"/>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anim calcmode="lin" valueType="num">
                                      <p:cBhvr>
                                        <p:cTn id="23" dur="1000" fill="hold"/>
                                        <p:tgtEl>
                                          <p:spTgt spid="20"/>
                                        </p:tgtEl>
                                        <p:attrNameLst>
                                          <p:attrName>ppt_x</p:attrName>
                                        </p:attrNameLst>
                                      </p:cBhvr>
                                      <p:tavLst>
                                        <p:tav tm="0">
                                          <p:val>
                                            <p:strVal val="#ppt_x"/>
                                          </p:val>
                                        </p:tav>
                                        <p:tav tm="100000">
                                          <p:val>
                                            <p:strVal val="#ppt_x"/>
                                          </p:val>
                                        </p:tav>
                                      </p:tavLst>
                                    </p:anim>
                                    <p:anim calcmode="lin" valueType="num">
                                      <p:cBhvr>
                                        <p:cTn id="24" dur="1000" fill="hold"/>
                                        <p:tgtEl>
                                          <p:spTgt spid="2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1000"/>
                                        <p:tgtEl>
                                          <p:spTgt spid="27"/>
                                        </p:tgtEl>
                                      </p:cBhvr>
                                    </p:animEffect>
                                    <p:anim calcmode="lin" valueType="num">
                                      <p:cBhvr>
                                        <p:cTn id="28" dur="1000" fill="hold"/>
                                        <p:tgtEl>
                                          <p:spTgt spid="27"/>
                                        </p:tgtEl>
                                        <p:attrNameLst>
                                          <p:attrName>ppt_x</p:attrName>
                                        </p:attrNameLst>
                                      </p:cBhvr>
                                      <p:tavLst>
                                        <p:tav tm="0">
                                          <p:val>
                                            <p:strVal val="#ppt_x"/>
                                          </p:val>
                                        </p:tav>
                                        <p:tav tm="100000">
                                          <p:val>
                                            <p:strVal val="#ppt_x"/>
                                          </p:val>
                                        </p:tav>
                                      </p:tavLst>
                                    </p:anim>
                                    <p:anim calcmode="lin" valueType="num">
                                      <p:cBhvr>
                                        <p:cTn id="29" dur="1000" fill="hold"/>
                                        <p:tgtEl>
                                          <p:spTgt spid="27"/>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1000"/>
                                        <p:tgtEl>
                                          <p:spTgt spid="28"/>
                                        </p:tgtEl>
                                      </p:cBhvr>
                                    </p:animEffect>
                                    <p:anim calcmode="lin" valueType="num">
                                      <p:cBhvr>
                                        <p:cTn id="33" dur="1000" fill="hold"/>
                                        <p:tgtEl>
                                          <p:spTgt spid="28"/>
                                        </p:tgtEl>
                                        <p:attrNameLst>
                                          <p:attrName>ppt_x</p:attrName>
                                        </p:attrNameLst>
                                      </p:cBhvr>
                                      <p:tavLst>
                                        <p:tav tm="0">
                                          <p:val>
                                            <p:strVal val="#ppt_x"/>
                                          </p:val>
                                        </p:tav>
                                        <p:tav tm="100000">
                                          <p:val>
                                            <p:strVal val="#ppt_x"/>
                                          </p:val>
                                        </p:tav>
                                      </p:tavLst>
                                    </p:anim>
                                    <p:anim calcmode="lin" valueType="num">
                                      <p:cBhvr>
                                        <p:cTn id="34" dur="1000" fill="hold"/>
                                        <p:tgtEl>
                                          <p:spTgt spid="28"/>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1000"/>
                                        <p:tgtEl>
                                          <p:spTgt spid="31"/>
                                        </p:tgtEl>
                                      </p:cBhvr>
                                    </p:animEffect>
                                    <p:anim calcmode="lin" valueType="num">
                                      <p:cBhvr>
                                        <p:cTn id="38" dur="1000" fill="hold"/>
                                        <p:tgtEl>
                                          <p:spTgt spid="31"/>
                                        </p:tgtEl>
                                        <p:attrNameLst>
                                          <p:attrName>ppt_x</p:attrName>
                                        </p:attrNameLst>
                                      </p:cBhvr>
                                      <p:tavLst>
                                        <p:tav tm="0">
                                          <p:val>
                                            <p:strVal val="#ppt_x"/>
                                          </p:val>
                                        </p:tav>
                                        <p:tav tm="100000">
                                          <p:val>
                                            <p:strVal val="#ppt_x"/>
                                          </p:val>
                                        </p:tav>
                                      </p:tavLst>
                                    </p:anim>
                                    <p:anim calcmode="lin" valueType="num">
                                      <p:cBhvr>
                                        <p:cTn id="39" dur="1000" fill="hold"/>
                                        <p:tgtEl>
                                          <p:spTgt spid="31"/>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1000"/>
                                        <p:tgtEl>
                                          <p:spTgt spid="32"/>
                                        </p:tgtEl>
                                      </p:cBhvr>
                                    </p:animEffect>
                                    <p:anim calcmode="lin" valueType="num">
                                      <p:cBhvr>
                                        <p:cTn id="43" dur="1000" fill="hold"/>
                                        <p:tgtEl>
                                          <p:spTgt spid="32"/>
                                        </p:tgtEl>
                                        <p:attrNameLst>
                                          <p:attrName>ppt_x</p:attrName>
                                        </p:attrNameLst>
                                      </p:cBhvr>
                                      <p:tavLst>
                                        <p:tav tm="0">
                                          <p:val>
                                            <p:strVal val="#ppt_x"/>
                                          </p:val>
                                        </p:tav>
                                        <p:tav tm="100000">
                                          <p:val>
                                            <p:strVal val="#ppt_x"/>
                                          </p:val>
                                        </p:tav>
                                      </p:tavLst>
                                    </p:anim>
                                    <p:anim calcmode="lin" valueType="num">
                                      <p:cBhvr>
                                        <p:cTn id="44" dur="1000" fill="hold"/>
                                        <p:tgtEl>
                                          <p:spTgt spid="32"/>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1000"/>
                                        <p:tgtEl>
                                          <p:spTgt spid="33"/>
                                        </p:tgtEl>
                                      </p:cBhvr>
                                    </p:animEffect>
                                    <p:anim calcmode="lin" valueType="num">
                                      <p:cBhvr>
                                        <p:cTn id="48" dur="1000" fill="hold"/>
                                        <p:tgtEl>
                                          <p:spTgt spid="33"/>
                                        </p:tgtEl>
                                        <p:attrNameLst>
                                          <p:attrName>ppt_x</p:attrName>
                                        </p:attrNameLst>
                                      </p:cBhvr>
                                      <p:tavLst>
                                        <p:tav tm="0">
                                          <p:val>
                                            <p:strVal val="#ppt_x"/>
                                          </p:val>
                                        </p:tav>
                                        <p:tav tm="100000">
                                          <p:val>
                                            <p:strVal val="#ppt_x"/>
                                          </p:val>
                                        </p:tav>
                                      </p:tavLst>
                                    </p:anim>
                                    <p:anim calcmode="lin" valueType="num">
                                      <p:cBhvr>
                                        <p:cTn id="49" dur="1000" fill="hold"/>
                                        <p:tgtEl>
                                          <p:spTgt spid="33"/>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fade">
                                      <p:cBhvr>
                                        <p:cTn id="52" dur="1000"/>
                                        <p:tgtEl>
                                          <p:spTgt spid="39"/>
                                        </p:tgtEl>
                                      </p:cBhvr>
                                    </p:animEffect>
                                    <p:anim calcmode="lin" valueType="num">
                                      <p:cBhvr>
                                        <p:cTn id="53" dur="1000" fill="hold"/>
                                        <p:tgtEl>
                                          <p:spTgt spid="39"/>
                                        </p:tgtEl>
                                        <p:attrNameLst>
                                          <p:attrName>ppt_x</p:attrName>
                                        </p:attrNameLst>
                                      </p:cBhvr>
                                      <p:tavLst>
                                        <p:tav tm="0">
                                          <p:val>
                                            <p:strVal val="#ppt_x"/>
                                          </p:val>
                                        </p:tav>
                                        <p:tav tm="100000">
                                          <p:val>
                                            <p:strVal val="#ppt_x"/>
                                          </p:val>
                                        </p:tav>
                                      </p:tavLst>
                                    </p:anim>
                                    <p:anim calcmode="lin" valueType="num">
                                      <p:cBhvr>
                                        <p:cTn id="54" dur="1000" fill="hold"/>
                                        <p:tgtEl>
                                          <p:spTgt spid="39"/>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1000"/>
                                        <p:tgtEl>
                                          <p:spTgt spid="40"/>
                                        </p:tgtEl>
                                      </p:cBhvr>
                                    </p:animEffect>
                                    <p:anim calcmode="lin" valueType="num">
                                      <p:cBhvr>
                                        <p:cTn id="58" dur="1000" fill="hold"/>
                                        <p:tgtEl>
                                          <p:spTgt spid="40"/>
                                        </p:tgtEl>
                                        <p:attrNameLst>
                                          <p:attrName>ppt_x</p:attrName>
                                        </p:attrNameLst>
                                      </p:cBhvr>
                                      <p:tavLst>
                                        <p:tav tm="0">
                                          <p:val>
                                            <p:strVal val="#ppt_x"/>
                                          </p:val>
                                        </p:tav>
                                        <p:tav tm="100000">
                                          <p:val>
                                            <p:strVal val="#ppt_x"/>
                                          </p:val>
                                        </p:tav>
                                      </p:tavLst>
                                    </p:anim>
                                    <p:anim calcmode="lin" valueType="num">
                                      <p:cBhvr>
                                        <p:cTn id="59" dur="1000" fill="hold"/>
                                        <p:tgtEl>
                                          <p:spTgt spid="40"/>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41"/>
                                        </p:tgtEl>
                                        <p:attrNameLst>
                                          <p:attrName>style.visibility</p:attrName>
                                        </p:attrNameLst>
                                      </p:cBhvr>
                                      <p:to>
                                        <p:strVal val="visible"/>
                                      </p:to>
                                    </p:set>
                                    <p:animEffect transition="in" filter="fade">
                                      <p:cBhvr>
                                        <p:cTn id="62" dur="1000"/>
                                        <p:tgtEl>
                                          <p:spTgt spid="41"/>
                                        </p:tgtEl>
                                      </p:cBhvr>
                                    </p:animEffect>
                                    <p:anim calcmode="lin" valueType="num">
                                      <p:cBhvr>
                                        <p:cTn id="63" dur="1000" fill="hold"/>
                                        <p:tgtEl>
                                          <p:spTgt spid="41"/>
                                        </p:tgtEl>
                                        <p:attrNameLst>
                                          <p:attrName>ppt_x</p:attrName>
                                        </p:attrNameLst>
                                      </p:cBhvr>
                                      <p:tavLst>
                                        <p:tav tm="0">
                                          <p:val>
                                            <p:strVal val="#ppt_x"/>
                                          </p:val>
                                        </p:tav>
                                        <p:tav tm="100000">
                                          <p:val>
                                            <p:strVal val="#ppt_x"/>
                                          </p:val>
                                        </p:tav>
                                      </p:tavLst>
                                    </p:anim>
                                    <p:anim calcmode="lin" valueType="num">
                                      <p:cBhvr>
                                        <p:cTn id="64" dur="1000" fill="hold"/>
                                        <p:tgtEl>
                                          <p:spTgt spid="41"/>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1000"/>
                                        <p:tgtEl>
                                          <p:spTgt spid="42"/>
                                        </p:tgtEl>
                                      </p:cBhvr>
                                    </p:animEffect>
                                    <p:anim calcmode="lin" valueType="num">
                                      <p:cBhvr>
                                        <p:cTn id="68" dur="1000" fill="hold"/>
                                        <p:tgtEl>
                                          <p:spTgt spid="42"/>
                                        </p:tgtEl>
                                        <p:attrNameLst>
                                          <p:attrName>ppt_x</p:attrName>
                                        </p:attrNameLst>
                                      </p:cBhvr>
                                      <p:tavLst>
                                        <p:tav tm="0">
                                          <p:val>
                                            <p:strVal val="#ppt_x"/>
                                          </p:val>
                                        </p:tav>
                                        <p:tav tm="100000">
                                          <p:val>
                                            <p:strVal val="#ppt_x"/>
                                          </p:val>
                                        </p:tav>
                                      </p:tavLst>
                                    </p:anim>
                                    <p:anim calcmode="lin" valueType="num">
                                      <p:cBhvr>
                                        <p:cTn id="69" dur="1000" fill="hold"/>
                                        <p:tgtEl>
                                          <p:spTgt spid="42"/>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43"/>
                                        </p:tgtEl>
                                        <p:attrNameLst>
                                          <p:attrName>style.visibility</p:attrName>
                                        </p:attrNameLst>
                                      </p:cBhvr>
                                      <p:to>
                                        <p:strVal val="visible"/>
                                      </p:to>
                                    </p:set>
                                    <p:animEffect transition="in" filter="fade">
                                      <p:cBhvr>
                                        <p:cTn id="72" dur="1000"/>
                                        <p:tgtEl>
                                          <p:spTgt spid="43"/>
                                        </p:tgtEl>
                                      </p:cBhvr>
                                    </p:animEffect>
                                    <p:anim calcmode="lin" valueType="num">
                                      <p:cBhvr>
                                        <p:cTn id="73" dur="1000" fill="hold"/>
                                        <p:tgtEl>
                                          <p:spTgt spid="43"/>
                                        </p:tgtEl>
                                        <p:attrNameLst>
                                          <p:attrName>ppt_x</p:attrName>
                                        </p:attrNameLst>
                                      </p:cBhvr>
                                      <p:tavLst>
                                        <p:tav tm="0">
                                          <p:val>
                                            <p:strVal val="#ppt_x"/>
                                          </p:val>
                                        </p:tav>
                                        <p:tav tm="100000">
                                          <p:val>
                                            <p:strVal val="#ppt_x"/>
                                          </p:val>
                                        </p:tav>
                                      </p:tavLst>
                                    </p:anim>
                                    <p:anim calcmode="lin" valueType="num">
                                      <p:cBhvr>
                                        <p:cTn id="74" dur="1000" fill="hold"/>
                                        <p:tgtEl>
                                          <p:spTgt spid="43"/>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anim calcmode="lin" valueType="num">
                                      <p:cBhvr>
                                        <p:cTn id="78" dur="1000" fill="hold"/>
                                        <p:tgtEl>
                                          <p:spTgt spid="44"/>
                                        </p:tgtEl>
                                        <p:attrNameLst>
                                          <p:attrName>ppt_x</p:attrName>
                                        </p:attrNameLst>
                                      </p:cBhvr>
                                      <p:tavLst>
                                        <p:tav tm="0">
                                          <p:val>
                                            <p:strVal val="#ppt_x"/>
                                          </p:val>
                                        </p:tav>
                                        <p:tav tm="100000">
                                          <p:val>
                                            <p:strVal val="#ppt_x"/>
                                          </p:val>
                                        </p:tav>
                                      </p:tavLst>
                                    </p:anim>
                                    <p:anim calcmode="lin" valueType="num">
                                      <p:cBhvr>
                                        <p:cTn id="79" dur="1000" fill="hold"/>
                                        <p:tgtEl>
                                          <p:spTgt spid="44"/>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1000"/>
                                        <p:tgtEl>
                                          <p:spTgt spid="45"/>
                                        </p:tgtEl>
                                      </p:cBhvr>
                                    </p:animEffect>
                                    <p:anim calcmode="lin" valueType="num">
                                      <p:cBhvr>
                                        <p:cTn id="83" dur="1000" fill="hold"/>
                                        <p:tgtEl>
                                          <p:spTgt spid="45"/>
                                        </p:tgtEl>
                                        <p:attrNameLst>
                                          <p:attrName>ppt_x</p:attrName>
                                        </p:attrNameLst>
                                      </p:cBhvr>
                                      <p:tavLst>
                                        <p:tav tm="0">
                                          <p:val>
                                            <p:strVal val="#ppt_x"/>
                                          </p:val>
                                        </p:tav>
                                        <p:tav tm="100000">
                                          <p:val>
                                            <p:strVal val="#ppt_x"/>
                                          </p:val>
                                        </p:tav>
                                      </p:tavLst>
                                    </p:anim>
                                    <p:anim calcmode="lin" valueType="num">
                                      <p:cBhvr>
                                        <p:cTn id="84" dur="1000" fill="hold"/>
                                        <p:tgtEl>
                                          <p:spTgt spid="45"/>
                                        </p:tgtEl>
                                        <p:attrNameLst>
                                          <p:attrName>ppt_y</p:attrName>
                                        </p:attrNameLst>
                                      </p:cBhvr>
                                      <p:tavLst>
                                        <p:tav tm="0">
                                          <p:val>
                                            <p:strVal val="#ppt_y+.1"/>
                                          </p:val>
                                        </p:tav>
                                        <p:tav tm="100000">
                                          <p:val>
                                            <p:strVal val="#ppt_y"/>
                                          </p:val>
                                        </p:tav>
                                      </p:tavLst>
                                    </p:anim>
                                  </p:childTnLst>
                                </p:cTn>
                              </p:par>
                              <p:par>
                                <p:cTn id="85" presetID="47" presetClass="entr" presetSubtype="0" fill="hold" grpId="0" nodeType="with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fade">
                                      <p:cBhvr>
                                        <p:cTn id="87" dur="1000"/>
                                        <p:tgtEl>
                                          <p:spTgt spid="3"/>
                                        </p:tgtEl>
                                      </p:cBhvr>
                                    </p:animEffect>
                                    <p:anim calcmode="lin" valueType="num">
                                      <p:cBhvr>
                                        <p:cTn id="88" dur="1000" fill="hold"/>
                                        <p:tgtEl>
                                          <p:spTgt spid="3"/>
                                        </p:tgtEl>
                                        <p:attrNameLst>
                                          <p:attrName>ppt_x</p:attrName>
                                        </p:attrNameLst>
                                      </p:cBhvr>
                                      <p:tavLst>
                                        <p:tav tm="0">
                                          <p:val>
                                            <p:strVal val="#ppt_x"/>
                                          </p:val>
                                        </p:tav>
                                        <p:tav tm="100000">
                                          <p:val>
                                            <p:strVal val="#ppt_x"/>
                                          </p:val>
                                        </p:tav>
                                      </p:tavLst>
                                    </p:anim>
                                    <p:anim calcmode="lin" valueType="num">
                                      <p:cBhvr>
                                        <p:cTn id="89" dur="1000" fill="hold"/>
                                        <p:tgtEl>
                                          <p:spTgt spid="3"/>
                                        </p:tgtEl>
                                        <p:attrNameLst>
                                          <p:attrName>ppt_y</p:attrName>
                                        </p:attrNameLst>
                                      </p:cBhvr>
                                      <p:tavLst>
                                        <p:tav tm="0">
                                          <p:val>
                                            <p:strVal val="#ppt_y-.1"/>
                                          </p:val>
                                        </p:tav>
                                        <p:tav tm="100000">
                                          <p:val>
                                            <p:strVal val="#ppt_y"/>
                                          </p:val>
                                        </p:tav>
                                      </p:tavLst>
                                    </p:anim>
                                  </p:childTnLst>
                                </p:cTn>
                              </p:par>
                              <p:par>
                                <p:cTn id="90" presetID="47" presetClass="entr" presetSubtype="0" fill="hold" grpId="0" nodeType="withEffect">
                                  <p:stCondLst>
                                    <p:cond delay="0"/>
                                  </p:stCondLst>
                                  <p:childTnLst>
                                    <p:set>
                                      <p:cBhvr>
                                        <p:cTn id="91" dur="1" fill="hold">
                                          <p:stCondLst>
                                            <p:cond delay="0"/>
                                          </p:stCondLst>
                                        </p:cTn>
                                        <p:tgtEl>
                                          <p:spTgt spid="15"/>
                                        </p:tgtEl>
                                        <p:attrNameLst>
                                          <p:attrName>style.visibility</p:attrName>
                                        </p:attrNameLst>
                                      </p:cBhvr>
                                      <p:to>
                                        <p:strVal val="visible"/>
                                      </p:to>
                                    </p:set>
                                    <p:animEffect transition="in" filter="fade">
                                      <p:cBhvr>
                                        <p:cTn id="92" dur="1000"/>
                                        <p:tgtEl>
                                          <p:spTgt spid="15"/>
                                        </p:tgtEl>
                                      </p:cBhvr>
                                    </p:animEffect>
                                    <p:anim calcmode="lin" valueType="num">
                                      <p:cBhvr>
                                        <p:cTn id="93" dur="1000" fill="hold"/>
                                        <p:tgtEl>
                                          <p:spTgt spid="15"/>
                                        </p:tgtEl>
                                        <p:attrNameLst>
                                          <p:attrName>ppt_x</p:attrName>
                                        </p:attrNameLst>
                                      </p:cBhvr>
                                      <p:tavLst>
                                        <p:tav tm="0">
                                          <p:val>
                                            <p:strVal val="#ppt_x"/>
                                          </p:val>
                                        </p:tav>
                                        <p:tav tm="100000">
                                          <p:val>
                                            <p:strVal val="#ppt_x"/>
                                          </p:val>
                                        </p:tav>
                                      </p:tavLst>
                                    </p:anim>
                                    <p:anim calcmode="lin" valueType="num">
                                      <p:cBhvr>
                                        <p:cTn id="94" dur="1000" fill="hold"/>
                                        <p:tgtEl>
                                          <p:spTgt spid="15"/>
                                        </p:tgtEl>
                                        <p:attrNameLst>
                                          <p:attrName>ppt_y</p:attrName>
                                        </p:attrNameLst>
                                      </p:cBhvr>
                                      <p:tavLst>
                                        <p:tav tm="0">
                                          <p:val>
                                            <p:strVal val="#ppt_y-.1"/>
                                          </p:val>
                                        </p:tav>
                                        <p:tav tm="100000">
                                          <p:val>
                                            <p:strVal val="#ppt_y"/>
                                          </p:val>
                                        </p:tav>
                                      </p:tavLst>
                                    </p:anim>
                                  </p:childTnLst>
                                </p:cTn>
                              </p:par>
                              <p:par>
                                <p:cTn id="95" presetID="47" presetClass="entr" presetSubtype="0" fill="hold" grpId="0" nodeType="withEffect">
                                  <p:stCondLst>
                                    <p:cond delay="0"/>
                                  </p:stCondLst>
                                  <p:childTnLst>
                                    <p:set>
                                      <p:cBhvr>
                                        <p:cTn id="96" dur="1" fill="hold">
                                          <p:stCondLst>
                                            <p:cond delay="0"/>
                                          </p:stCondLst>
                                        </p:cTn>
                                        <p:tgtEl>
                                          <p:spTgt spid="16"/>
                                        </p:tgtEl>
                                        <p:attrNameLst>
                                          <p:attrName>style.visibility</p:attrName>
                                        </p:attrNameLst>
                                      </p:cBhvr>
                                      <p:to>
                                        <p:strVal val="visible"/>
                                      </p:to>
                                    </p:set>
                                    <p:animEffect transition="in" filter="fade">
                                      <p:cBhvr>
                                        <p:cTn id="97" dur="1000"/>
                                        <p:tgtEl>
                                          <p:spTgt spid="16"/>
                                        </p:tgtEl>
                                      </p:cBhvr>
                                    </p:animEffect>
                                    <p:anim calcmode="lin" valueType="num">
                                      <p:cBhvr>
                                        <p:cTn id="98" dur="1000" fill="hold"/>
                                        <p:tgtEl>
                                          <p:spTgt spid="16"/>
                                        </p:tgtEl>
                                        <p:attrNameLst>
                                          <p:attrName>ppt_x</p:attrName>
                                        </p:attrNameLst>
                                      </p:cBhvr>
                                      <p:tavLst>
                                        <p:tav tm="0">
                                          <p:val>
                                            <p:strVal val="#ppt_x"/>
                                          </p:val>
                                        </p:tav>
                                        <p:tav tm="100000">
                                          <p:val>
                                            <p:strVal val="#ppt_x"/>
                                          </p:val>
                                        </p:tav>
                                      </p:tavLst>
                                    </p:anim>
                                    <p:anim calcmode="lin" valueType="num">
                                      <p:cBhvr>
                                        <p:cTn id="99" dur="1000" fill="hold"/>
                                        <p:tgtEl>
                                          <p:spTgt spid="16"/>
                                        </p:tgtEl>
                                        <p:attrNameLst>
                                          <p:attrName>ppt_y</p:attrName>
                                        </p:attrNameLst>
                                      </p:cBhvr>
                                      <p:tavLst>
                                        <p:tav tm="0">
                                          <p:val>
                                            <p:strVal val="#ppt_y-.1"/>
                                          </p:val>
                                        </p:tav>
                                        <p:tav tm="100000">
                                          <p:val>
                                            <p:strVal val="#ppt_y"/>
                                          </p:val>
                                        </p:tav>
                                      </p:tavLst>
                                    </p:anim>
                                  </p:childTnLst>
                                </p:cTn>
                              </p:par>
                              <p:par>
                                <p:cTn id="100" presetID="47" presetClass="entr" presetSubtype="0" fill="hold" grpId="0" nodeType="withEffect">
                                  <p:stCondLst>
                                    <p:cond delay="0"/>
                                  </p:stCondLst>
                                  <p:childTnLst>
                                    <p:set>
                                      <p:cBhvr>
                                        <p:cTn id="101" dur="1" fill="hold">
                                          <p:stCondLst>
                                            <p:cond delay="0"/>
                                          </p:stCondLst>
                                        </p:cTn>
                                        <p:tgtEl>
                                          <p:spTgt spid="21"/>
                                        </p:tgtEl>
                                        <p:attrNameLst>
                                          <p:attrName>style.visibility</p:attrName>
                                        </p:attrNameLst>
                                      </p:cBhvr>
                                      <p:to>
                                        <p:strVal val="visible"/>
                                      </p:to>
                                    </p:set>
                                    <p:animEffect transition="in" filter="fade">
                                      <p:cBhvr>
                                        <p:cTn id="102" dur="1000"/>
                                        <p:tgtEl>
                                          <p:spTgt spid="21"/>
                                        </p:tgtEl>
                                      </p:cBhvr>
                                    </p:animEffect>
                                    <p:anim calcmode="lin" valueType="num">
                                      <p:cBhvr>
                                        <p:cTn id="103" dur="1000" fill="hold"/>
                                        <p:tgtEl>
                                          <p:spTgt spid="21"/>
                                        </p:tgtEl>
                                        <p:attrNameLst>
                                          <p:attrName>ppt_x</p:attrName>
                                        </p:attrNameLst>
                                      </p:cBhvr>
                                      <p:tavLst>
                                        <p:tav tm="0">
                                          <p:val>
                                            <p:strVal val="#ppt_x"/>
                                          </p:val>
                                        </p:tav>
                                        <p:tav tm="100000">
                                          <p:val>
                                            <p:strVal val="#ppt_x"/>
                                          </p:val>
                                        </p:tav>
                                      </p:tavLst>
                                    </p:anim>
                                    <p:anim calcmode="lin" valueType="num">
                                      <p:cBhvr>
                                        <p:cTn id="104" dur="1000" fill="hold"/>
                                        <p:tgtEl>
                                          <p:spTgt spid="21"/>
                                        </p:tgtEl>
                                        <p:attrNameLst>
                                          <p:attrName>ppt_y</p:attrName>
                                        </p:attrNameLst>
                                      </p:cBhvr>
                                      <p:tavLst>
                                        <p:tav tm="0">
                                          <p:val>
                                            <p:strVal val="#ppt_y-.1"/>
                                          </p:val>
                                        </p:tav>
                                        <p:tav tm="100000">
                                          <p:val>
                                            <p:strVal val="#ppt_y"/>
                                          </p:val>
                                        </p:tav>
                                      </p:tavLst>
                                    </p:anim>
                                  </p:childTnLst>
                                </p:cTn>
                              </p:par>
                              <p:par>
                                <p:cTn id="105" presetID="47" presetClass="entr" presetSubtype="0" fill="hold" grpId="0" nodeType="withEffect">
                                  <p:stCondLst>
                                    <p:cond delay="0"/>
                                  </p:stCondLst>
                                  <p:childTnLst>
                                    <p:set>
                                      <p:cBhvr>
                                        <p:cTn id="106" dur="1" fill="hold">
                                          <p:stCondLst>
                                            <p:cond delay="0"/>
                                          </p:stCondLst>
                                        </p:cTn>
                                        <p:tgtEl>
                                          <p:spTgt spid="22"/>
                                        </p:tgtEl>
                                        <p:attrNameLst>
                                          <p:attrName>style.visibility</p:attrName>
                                        </p:attrNameLst>
                                      </p:cBhvr>
                                      <p:to>
                                        <p:strVal val="visible"/>
                                      </p:to>
                                    </p:set>
                                    <p:animEffect transition="in" filter="fade">
                                      <p:cBhvr>
                                        <p:cTn id="107" dur="1000"/>
                                        <p:tgtEl>
                                          <p:spTgt spid="22"/>
                                        </p:tgtEl>
                                      </p:cBhvr>
                                    </p:animEffect>
                                    <p:anim calcmode="lin" valueType="num">
                                      <p:cBhvr>
                                        <p:cTn id="108" dur="1000" fill="hold"/>
                                        <p:tgtEl>
                                          <p:spTgt spid="22"/>
                                        </p:tgtEl>
                                        <p:attrNameLst>
                                          <p:attrName>ppt_x</p:attrName>
                                        </p:attrNameLst>
                                      </p:cBhvr>
                                      <p:tavLst>
                                        <p:tav tm="0">
                                          <p:val>
                                            <p:strVal val="#ppt_x"/>
                                          </p:val>
                                        </p:tav>
                                        <p:tav tm="100000">
                                          <p:val>
                                            <p:strVal val="#ppt_x"/>
                                          </p:val>
                                        </p:tav>
                                      </p:tavLst>
                                    </p:anim>
                                    <p:anim calcmode="lin" valueType="num">
                                      <p:cBhvr>
                                        <p:cTn id="109" dur="1000" fill="hold"/>
                                        <p:tgtEl>
                                          <p:spTgt spid="22"/>
                                        </p:tgtEl>
                                        <p:attrNameLst>
                                          <p:attrName>ppt_y</p:attrName>
                                        </p:attrNameLst>
                                      </p:cBhvr>
                                      <p:tavLst>
                                        <p:tav tm="0">
                                          <p:val>
                                            <p:strVal val="#ppt_y-.1"/>
                                          </p:val>
                                        </p:tav>
                                        <p:tav tm="100000">
                                          <p:val>
                                            <p:strVal val="#ppt_y"/>
                                          </p:val>
                                        </p:tav>
                                      </p:tavLst>
                                    </p:anim>
                                  </p:childTnLst>
                                </p:cTn>
                              </p:par>
                              <p:par>
                                <p:cTn id="110" presetID="47" presetClass="entr" presetSubtype="0" fill="hold" grpId="0" nodeType="withEffect">
                                  <p:stCondLst>
                                    <p:cond delay="0"/>
                                  </p:stCondLst>
                                  <p:childTnLst>
                                    <p:set>
                                      <p:cBhvr>
                                        <p:cTn id="111" dur="1" fill="hold">
                                          <p:stCondLst>
                                            <p:cond delay="0"/>
                                          </p:stCondLst>
                                        </p:cTn>
                                        <p:tgtEl>
                                          <p:spTgt spid="24"/>
                                        </p:tgtEl>
                                        <p:attrNameLst>
                                          <p:attrName>style.visibility</p:attrName>
                                        </p:attrNameLst>
                                      </p:cBhvr>
                                      <p:to>
                                        <p:strVal val="visible"/>
                                      </p:to>
                                    </p:set>
                                    <p:animEffect transition="in" filter="fade">
                                      <p:cBhvr>
                                        <p:cTn id="112" dur="1000"/>
                                        <p:tgtEl>
                                          <p:spTgt spid="24"/>
                                        </p:tgtEl>
                                      </p:cBhvr>
                                    </p:animEffect>
                                    <p:anim calcmode="lin" valueType="num">
                                      <p:cBhvr>
                                        <p:cTn id="113" dur="1000" fill="hold"/>
                                        <p:tgtEl>
                                          <p:spTgt spid="24"/>
                                        </p:tgtEl>
                                        <p:attrNameLst>
                                          <p:attrName>ppt_x</p:attrName>
                                        </p:attrNameLst>
                                      </p:cBhvr>
                                      <p:tavLst>
                                        <p:tav tm="0">
                                          <p:val>
                                            <p:strVal val="#ppt_x"/>
                                          </p:val>
                                        </p:tav>
                                        <p:tav tm="100000">
                                          <p:val>
                                            <p:strVal val="#ppt_x"/>
                                          </p:val>
                                        </p:tav>
                                      </p:tavLst>
                                    </p:anim>
                                    <p:anim calcmode="lin" valueType="num">
                                      <p:cBhvr>
                                        <p:cTn id="114" dur="1000" fill="hold"/>
                                        <p:tgtEl>
                                          <p:spTgt spid="24"/>
                                        </p:tgtEl>
                                        <p:attrNameLst>
                                          <p:attrName>ppt_y</p:attrName>
                                        </p:attrNameLst>
                                      </p:cBhvr>
                                      <p:tavLst>
                                        <p:tav tm="0">
                                          <p:val>
                                            <p:strVal val="#ppt_y-.1"/>
                                          </p:val>
                                        </p:tav>
                                        <p:tav tm="100000">
                                          <p:val>
                                            <p:strVal val="#ppt_y"/>
                                          </p:val>
                                        </p:tav>
                                      </p:tavLst>
                                    </p:anim>
                                  </p:childTnLst>
                                </p:cTn>
                              </p:par>
                              <p:par>
                                <p:cTn id="115" presetID="47" presetClass="entr" presetSubtype="0" fill="hold" grpId="0"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fade">
                                      <p:cBhvr>
                                        <p:cTn id="117" dur="1000"/>
                                        <p:tgtEl>
                                          <p:spTgt spid="25"/>
                                        </p:tgtEl>
                                      </p:cBhvr>
                                    </p:animEffect>
                                    <p:anim calcmode="lin" valueType="num">
                                      <p:cBhvr>
                                        <p:cTn id="118" dur="1000" fill="hold"/>
                                        <p:tgtEl>
                                          <p:spTgt spid="25"/>
                                        </p:tgtEl>
                                        <p:attrNameLst>
                                          <p:attrName>ppt_x</p:attrName>
                                        </p:attrNameLst>
                                      </p:cBhvr>
                                      <p:tavLst>
                                        <p:tav tm="0">
                                          <p:val>
                                            <p:strVal val="#ppt_x"/>
                                          </p:val>
                                        </p:tav>
                                        <p:tav tm="100000">
                                          <p:val>
                                            <p:strVal val="#ppt_x"/>
                                          </p:val>
                                        </p:tav>
                                      </p:tavLst>
                                    </p:anim>
                                    <p:anim calcmode="lin" valueType="num">
                                      <p:cBhvr>
                                        <p:cTn id="119" dur="1000" fill="hold"/>
                                        <p:tgtEl>
                                          <p:spTgt spid="25"/>
                                        </p:tgtEl>
                                        <p:attrNameLst>
                                          <p:attrName>ppt_y</p:attrName>
                                        </p:attrNameLst>
                                      </p:cBhvr>
                                      <p:tavLst>
                                        <p:tav tm="0">
                                          <p:val>
                                            <p:strVal val="#ppt_y-.1"/>
                                          </p:val>
                                        </p:tav>
                                        <p:tav tm="100000">
                                          <p:val>
                                            <p:strVal val="#ppt_y"/>
                                          </p:val>
                                        </p:tav>
                                      </p:tavLst>
                                    </p:anim>
                                  </p:childTnLst>
                                </p:cTn>
                              </p:par>
                              <p:par>
                                <p:cTn id="120" presetID="47" presetClass="entr" presetSubtype="0" fill="hold" grpId="0" nodeType="withEffect">
                                  <p:stCondLst>
                                    <p:cond delay="0"/>
                                  </p:stCondLst>
                                  <p:childTnLst>
                                    <p:set>
                                      <p:cBhvr>
                                        <p:cTn id="121" dur="1" fill="hold">
                                          <p:stCondLst>
                                            <p:cond delay="0"/>
                                          </p:stCondLst>
                                        </p:cTn>
                                        <p:tgtEl>
                                          <p:spTgt spid="29"/>
                                        </p:tgtEl>
                                        <p:attrNameLst>
                                          <p:attrName>style.visibility</p:attrName>
                                        </p:attrNameLst>
                                      </p:cBhvr>
                                      <p:to>
                                        <p:strVal val="visible"/>
                                      </p:to>
                                    </p:set>
                                    <p:animEffect transition="in" filter="fade">
                                      <p:cBhvr>
                                        <p:cTn id="122" dur="1000"/>
                                        <p:tgtEl>
                                          <p:spTgt spid="29"/>
                                        </p:tgtEl>
                                      </p:cBhvr>
                                    </p:animEffect>
                                    <p:anim calcmode="lin" valueType="num">
                                      <p:cBhvr>
                                        <p:cTn id="123" dur="1000" fill="hold"/>
                                        <p:tgtEl>
                                          <p:spTgt spid="29"/>
                                        </p:tgtEl>
                                        <p:attrNameLst>
                                          <p:attrName>ppt_x</p:attrName>
                                        </p:attrNameLst>
                                      </p:cBhvr>
                                      <p:tavLst>
                                        <p:tav tm="0">
                                          <p:val>
                                            <p:strVal val="#ppt_x"/>
                                          </p:val>
                                        </p:tav>
                                        <p:tav tm="100000">
                                          <p:val>
                                            <p:strVal val="#ppt_x"/>
                                          </p:val>
                                        </p:tav>
                                      </p:tavLst>
                                    </p:anim>
                                    <p:anim calcmode="lin" valueType="num">
                                      <p:cBhvr>
                                        <p:cTn id="124" dur="1000" fill="hold"/>
                                        <p:tgtEl>
                                          <p:spTgt spid="29"/>
                                        </p:tgtEl>
                                        <p:attrNameLst>
                                          <p:attrName>ppt_y</p:attrName>
                                        </p:attrNameLst>
                                      </p:cBhvr>
                                      <p:tavLst>
                                        <p:tav tm="0">
                                          <p:val>
                                            <p:strVal val="#ppt_y-.1"/>
                                          </p:val>
                                        </p:tav>
                                        <p:tav tm="100000">
                                          <p:val>
                                            <p:strVal val="#ppt_y"/>
                                          </p:val>
                                        </p:tav>
                                      </p:tavLst>
                                    </p:anim>
                                  </p:childTnLst>
                                </p:cTn>
                              </p:par>
                              <p:par>
                                <p:cTn id="125" presetID="47" presetClass="entr" presetSubtype="0" fill="hold" grpId="0" nodeType="withEffect">
                                  <p:stCondLst>
                                    <p:cond delay="0"/>
                                  </p:stCondLst>
                                  <p:childTnLst>
                                    <p:set>
                                      <p:cBhvr>
                                        <p:cTn id="126" dur="1" fill="hold">
                                          <p:stCondLst>
                                            <p:cond delay="0"/>
                                          </p:stCondLst>
                                        </p:cTn>
                                        <p:tgtEl>
                                          <p:spTgt spid="30"/>
                                        </p:tgtEl>
                                        <p:attrNameLst>
                                          <p:attrName>style.visibility</p:attrName>
                                        </p:attrNameLst>
                                      </p:cBhvr>
                                      <p:to>
                                        <p:strVal val="visible"/>
                                      </p:to>
                                    </p:set>
                                    <p:animEffect transition="in" filter="fade">
                                      <p:cBhvr>
                                        <p:cTn id="127" dur="1000"/>
                                        <p:tgtEl>
                                          <p:spTgt spid="30"/>
                                        </p:tgtEl>
                                      </p:cBhvr>
                                    </p:animEffect>
                                    <p:anim calcmode="lin" valueType="num">
                                      <p:cBhvr>
                                        <p:cTn id="128" dur="1000" fill="hold"/>
                                        <p:tgtEl>
                                          <p:spTgt spid="30"/>
                                        </p:tgtEl>
                                        <p:attrNameLst>
                                          <p:attrName>ppt_x</p:attrName>
                                        </p:attrNameLst>
                                      </p:cBhvr>
                                      <p:tavLst>
                                        <p:tav tm="0">
                                          <p:val>
                                            <p:strVal val="#ppt_x"/>
                                          </p:val>
                                        </p:tav>
                                        <p:tav tm="100000">
                                          <p:val>
                                            <p:strVal val="#ppt_x"/>
                                          </p:val>
                                        </p:tav>
                                      </p:tavLst>
                                    </p:anim>
                                    <p:anim calcmode="lin" valueType="num">
                                      <p:cBhvr>
                                        <p:cTn id="129" dur="1000" fill="hold"/>
                                        <p:tgtEl>
                                          <p:spTgt spid="30"/>
                                        </p:tgtEl>
                                        <p:attrNameLst>
                                          <p:attrName>ppt_y</p:attrName>
                                        </p:attrNameLst>
                                      </p:cBhvr>
                                      <p:tavLst>
                                        <p:tav tm="0">
                                          <p:val>
                                            <p:strVal val="#ppt_y-.1"/>
                                          </p:val>
                                        </p:tav>
                                        <p:tav tm="100000">
                                          <p:val>
                                            <p:strVal val="#ppt_y"/>
                                          </p:val>
                                        </p:tav>
                                      </p:tavLst>
                                    </p:anim>
                                  </p:childTnLst>
                                </p:cTn>
                              </p:par>
                              <p:par>
                                <p:cTn id="130" presetID="47" presetClass="entr" presetSubtype="0" fill="hold" grpId="0" nodeType="withEffect">
                                  <p:stCondLst>
                                    <p:cond delay="0"/>
                                  </p:stCondLst>
                                  <p:childTnLst>
                                    <p:set>
                                      <p:cBhvr>
                                        <p:cTn id="131" dur="1" fill="hold">
                                          <p:stCondLst>
                                            <p:cond delay="0"/>
                                          </p:stCondLst>
                                        </p:cTn>
                                        <p:tgtEl>
                                          <p:spTgt spid="34"/>
                                        </p:tgtEl>
                                        <p:attrNameLst>
                                          <p:attrName>style.visibility</p:attrName>
                                        </p:attrNameLst>
                                      </p:cBhvr>
                                      <p:to>
                                        <p:strVal val="visible"/>
                                      </p:to>
                                    </p:set>
                                    <p:animEffect transition="in" filter="fade">
                                      <p:cBhvr>
                                        <p:cTn id="132" dur="1000"/>
                                        <p:tgtEl>
                                          <p:spTgt spid="34"/>
                                        </p:tgtEl>
                                      </p:cBhvr>
                                    </p:animEffect>
                                    <p:anim calcmode="lin" valueType="num">
                                      <p:cBhvr>
                                        <p:cTn id="133" dur="1000" fill="hold"/>
                                        <p:tgtEl>
                                          <p:spTgt spid="34"/>
                                        </p:tgtEl>
                                        <p:attrNameLst>
                                          <p:attrName>ppt_x</p:attrName>
                                        </p:attrNameLst>
                                      </p:cBhvr>
                                      <p:tavLst>
                                        <p:tav tm="0">
                                          <p:val>
                                            <p:strVal val="#ppt_x"/>
                                          </p:val>
                                        </p:tav>
                                        <p:tav tm="100000">
                                          <p:val>
                                            <p:strVal val="#ppt_x"/>
                                          </p:val>
                                        </p:tav>
                                      </p:tavLst>
                                    </p:anim>
                                    <p:anim calcmode="lin" valueType="num">
                                      <p:cBhvr>
                                        <p:cTn id="134" dur="1000" fill="hold"/>
                                        <p:tgtEl>
                                          <p:spTgt spid="34"/>
                                        </p:tgtEl>
                                        <p:attrNameLst>
                                          <p:attrName>ppt_y</p:attrName>
                                        </p:attrNameLst>
                                      </p:cBhvr>
                                      <p:tavLst>
                                        <p:tav tm="0">
                                          <p:val>
                                            <p:strVal val="#ppt_y-.1"/>
                                          </p:val>
                                        </p:tav>
                                        <p:tav tm="100000">
                                          <p:val>
                                            <p:strVal val="#ppt_y"/>
                                          </p:val>
                                        </p:tav>
                                      </p:tavLst>
                                    </p:anim>
                                  </p:childTnLst>
                                </p:cTn>
                              </p:par>
                              <p:par>
                                <p:cTn id="135" presetID="47" presetClass="entr" presetSubtype="0" fill="hold" grpId="0" nodeType="withEffect">
                                  <p:stCondLst>
                                    <p:cond delay="0"/>
                                  </p:stCondLst>
                                  <p:childTnLst>
                                    <p:set>
                                      <p:cBhvr>
                                        <p:cTn id="136" dur="1" fill="hold">
                                          <p:stCondLst>
                                            <p:cond delay="0"/>
                                          </p:stCondLst>
                                        </p:cTn>
                                        <p:tgtEl>
                                          <p:spTgt spid="35"/>
                                        </p:tgtEl>
                                        <p:attrNameLst>
                                          <p:attrName>style.visibility</p:attrName>
                                        </p:attrNameLst>
                                      </p:cBhvr>
                                      <p:to>
                                        <p:strVal val="visible"/>
                                      </p:to>
                                    </p:set>
                                    <p:animEffect transition="in" filter="fade">
                                      <p:cBhvr>
                                        <p:cTn id="137" dur="1000"/>
                                        <p:tgtEl>
                                          <p:spTgt spid="35"/>
                                        </p:tgtEl>
                                      </p:cBhvr>
                                    </p:animEffect>
                                    <p:anim calcmode="lin" valueType="num">
                                      <p:cBhvr>
                                        <p:cTn id="138" dur="1000" fill="hold"/>
                                        <p:tgtEl>
                                          <p:spTgt spid="35"/>
                                        </p:tgtEl>
                                        <p:attrNameLst>
                                          <p:attrName>ppt_x</p:attrName>
                                        </p:attrNameLst>
                                      </p:cBhvr>
                                      <p:tavLst>
                                        <p:tav tm="0">
                                          <p:val>
                                            <p:strVal val="#ppt_x"/>
                                          </p:val>
                                        </p:tav>
                                        <p:tav tm="100000">
                                          <p:val>
                                            <p:strVal val="#ppt_x"/>
                                          </p:val>
                                        </p:tav>
                                      </p:tavLst>
                                    </p:anim>
                                    <p:anim calcmode="lin" valueType="num">
                                      <p:cBhvr>
                                        <p:cTn id="139" dur="1000" fill="hold"/>
                                        <p:tgtEl>
                                          <p:spTgt spid="35"/>
                                        </p:tgtEl>
                                        <p:attrNameLst>
                                          <p:attrName>ppt_y</p:attrName>
                                        </p:attrNameLst>
                                      </p:cBhvr>
                                      <p:tavLst>
                                        <p:tav tm="0">
                                          <p:val>
                                            <p:strVal val="#ppt_y-.1"/>
                                          </p:val>
                                        </p:tav>
                                        <p:tav tm="100000">
                                          <p:val>
                                            <p:strVal val="#ppt_y"/>
                                          </p:val>
                                        </p:tav>
                                      </p:tavLst>
                                    </p:anim>
                                  </p:childTnLst>
                                </p:cTn>
                              </p:par>
                              <p:par>
                                <p:cTn id="140" presetID="47" presetClass="entr" presetSubtype="0" fill="hold" grpId="0" nodeType="withEffect">
                                  <p:stCondLst>
                                    <p:cond delay="0"/>
                                  </p:stCondLst>
                                  <p:childTnLst>
                                    <p:set>
                                      <p:cBhvr>
                                        <p:cTn id="141" dur="1" fill="hold">
                                          <p:stCondLst>
                                            <p:cond delay="0"/>
                                          </p:stCondLst>
                                        </p:cTn>
                                        <p:tgtEl>
                                          <p:spTgt spid="36"/>
                                        </p:tgtEl>
                                        <p:attrNameLst>
                                          <p:attrName>style.visibility</p:attrName>
                                        </p:attrNameLst>
                                      </p:cBhvr>
                                      <p:to>
                                        <p:strVal val="visible"/>
                                      </p:to>
                                    </p:set>
                                    <p:animEffect transition="in" filter="fade">
                                      <p:cBhvr>
                                        <p:cTn id="142" dur="1000"/>
                                        <p:tgtEl>
                                          <p:spTgt spid="36"/>
                                        </p:tgtEl>
                                      </p:cBhvr>
                                    </p:animEffect>
                                    <p:anim calcmode="lin" valueType="num">
                                      <p:cBhvr>
                                        <p:cTn id="143" dur="1000" fill="hold"/>
                                        <p:tgtEl>
                                          <p:spTgt spid="36"/>
                                        </p:tgtEl>
                                        <p:attrNameLst>
                                          <p:attrName>ppt_x</p:attrName>
                                        </p:attrNameLst>
                                      </p:cBhvr>
                                      <p:tavLst>
                                        <p:tav tm="0">
                                          <p:val>
                                            <p:strVal val="#ppt_x"/>
                                          </p:val>
                                        </p:tav>
                                        <p:tav tm="100000">
                                          <p:val>
                                            <p:strVal val="#ppt_x"/>
                                          </p:val>
                                        </p:tav>
                                      </p:tavLst>
                                    </p:anim>
                                    <p:anim calcmode="lin" valueType="num">
                                      <p:cBhvr>
                                        <p:cTn id="144" dur="1000" fill="hold"/>
                                        <p:tgtEl>
                                          <p:spTgt spid="36"/>
                                        </p:tgtEl>
                                        <p:attrNameLst>
                                          <p:attrName>ppt_y</p:attrName>
                                        </p:attrNameLst>
                                      </p:cBhvr>
                                      <p:tavLst>
                                        <p:tav tm="0">
                                          <p:val>
                                            <p:strVal val="#ppt_y-.1"/>
                                          </p:val>
                                        </p:tav>
                                        <p:tav tm="100000">
                                          <p:val>
                                            <p:strVal val="#ppt_y"/>
                                          </p:val>
                                        </p:tav>
                                      </p:tavLst>
                                    </p:anim>
                                  </p:childTnLst>
                                </p:cTn>
                              </p:par>
                              <p:par>
                                <p:cTn id="145" presetID="47" presetClass="entr" presetSubtype="0" fill="hold" grpId="0" nodeType="withEffect">
                                  <p:stCondLst>
                                    <p:cond delay="0"/>
                                  </p:stCondLst>
                                  <p:childTnLst>
                                    <p:set>
                                      <p:cBhvr>
                                        <p:cTn id="146" dur="1" fill="hold">
                                          <p:stCondLst>
                                            <p:cond delay="0"/>
                                          </p:stCondLst>
                                        </p:cTn>
                                        <p:tgtEl>
                                          <p:spTgt spid="37"/>
                                        </p:tgtEl>
                                        <p:attrNameLst>
                                          <p:attrName>style.visibility</p:attrName>
                                        </p:attrNameLst>
                                      </p:cBhvr>
                                      <p:to>
                                        <p:strVal val="visible"/>
                                      </p:to>
                                    </p:set>
                                    <p:animEffect transition="in" filter="fade">
                                      <p:cBhvr>
                                        <p:cTn id="147" dur="1000"/>
                                        <p:tgtEl>
                                          <p:spTgt spid="37"/>
                                        </p:tgtEl>
                                      </p:cBhvr>
                                    </p:animEffect>
                                    <p:anim calcmode="lin" valueType="num">
                                      <p:cBhvr>
                                        <p:cTn id="148" dur="1000" fill="hold"/>
                                        <p:tgtEl>
                                          <p:spTgt spid="37"/>
                                        </p:tgtEl>
                                        <p:attrNameLst>
                                          <p:attrName>ppt_x</p:attrName>
                                        </p:attrNameLst>
                                      </p:cBhvr>
                                      <p:tavLst>
                                        <p:tav tm="0">
                                          <p:val>
                                            <p:strVal val="#ppt_x"/>
                                          </p:val>
                                        </p:tav>
                                        <p:tav tm="100000">
                                          <p:val>
                                            <p:strVal val="#ppt_x"/>
                                          </p:val>
                                        </p:tav>
                                      </p:tavLst>
                                    </p:anim>
                                    <p:anim calcmode="lin" valueType="num">
                                      <p:cBhvr>
                                        <p:cTn id="149" dur="1000" fill="hold"/>
                                        <p:tgtEl>
                                          <p:spTgt spid="37"/>
                                        </p:tgtEl>
                                        <p:attrNameLst>
                                          <p:attrName>ppt_y</p:attrName>
                                        </p:attrNameLst>
                                      </p:cBhvr>
                                      <p:tavLst>
                                        <p:tav tm="0">
                                          <p:val>
                                            <p:strVal val="#ppt_y-.1"/>
                                          </p:val>
                                        </p:tav>
                                        <p:tav tm="100000">
                                          <p:val>
                                            <p:strVal val="#ppt_y"/>
                                          </p:val>
                                        </p:tav>
                                      </p:tavLst>
                                    </p:anim>
                                  </p:childTnLst>
                                </p:cTn>
                              </p:par>
                              <p:par>
                                <p:cTn id="150" presetID="47" presetClass="entr" presetSubtype="0" fill="hold" grpId="0" nodeType="withEffect">
                                  <p:stCondLst>
                                    <p:cond delay="0"/>
                                  </p:stCondLst>
                                  <p:childTnLst>
                                    <p:set>
                                      <p:cBhvr>
                                        <p:cTn id="151" dur="1" fill="hold">
                                          <p:stCondLst>
                                            <p:cond delay="0"/>
                                          </p:stCondLst>
                                        </p:cTn>
                                        <p:tgtEl>
                                          <p:spTgt spid="38"/>
                                        </p:tgtEl>
                                        <p:attrNameLst>
                                          <p:attrName>style.visibility</p:attrName>
                                        </p:attrNameLst>
                                      </p:cBhvr>
                                      <p:to>
                                        <p:strVal val="visible"/>
                                      </p:to>
                                    </p:set>
                                    <p:animEffect transition="in" filter="fade">
                                      <p:cBhvr>
                                        <p:cTn id="152" dur="1000"/>
                                        <p:tgtEl>
                                          <p:spTgt spid="38"/>
                                        </p:tgtEl>
                                      </p:cBhvr>
                                    </p:animEffect>
                                    <p:anim calcmode="lin" valueType="num">
                                      <p:cBhvr>
                                        <p:cTn id="153" dur="1000" fill="hold"/>
                                        <p:tgtEl>
                                          <p:spTgt spid="38"/>
                                        </p:tgtEl>
                                        <p:attrNameLst>
                                          <p:attrName>ppt_x</p:attrName>
                                        </p:attrNameLst>
                                      </p:cBhvr>
                                      <p:tavLst>
                                        <p:tav tm="0">
                                          <p:val>
                                            <p:strVal val="#ppt_x"/>
                                          </p:val>
                                        </p:tav>
                                        <p:tav tm="100000">
                                          <p:val>
                                            <p:strVal val="#ppt_x"/>
                                          </p:val>
                                        </p:tav>
                                      </p:tavLst>
                                    </p:anim>
                                    <p:anim calcmode="lin" valueType="num">
                                      <p:cBhvr>
                                        <p:cTn id="154" dur="1000" fill="hold"/>
                                        <p:tgtEl>
                                          <p:spTgt spid="38"/>
                                        </p:tgtEl>
                                        <p:attrNameLst>
                                          <p:attrName>ppt_y</p:attrName>
                                        </p:attrNameLst>
                                      </p:cBhvr>
                                      <p:tavLst>
                                        <p:tav tm="0">
                                          <p:val>
                                            <p:strVal val="#ppt_y-.1"/>
                                          </p:val>
                                        </p:tav>
                                        <p:tav tm="100000">
                                          <p:val>
                                            <p:strVal val="#ppt_y"/>
                                          </p:val>
                                        </p:tav>
                                      </p:tavLst>
                                    </p:anim>
                                  </p:childTnLst>
                                </p:cTn>
                              </p:par>
                              <p:par>
                                <p:cTn id="155" presetID="47" presetClass="entr" presetSubtype="0" fill="hold" grpId="0" nodeType="withEffect">
                                  <p:stCondLst>
                                    <p:cond delay="0"/>
                                  </p:stCondLst>
                                  <p:childTnLst>
                                    <p:set>
                                      <p:cBhvr>
                                        <p:cTn id="156" dur="1" fill="hold">
                                          <p:stCondLst>
                                            <p:cond delay="0"/>
                                          </p:stCondLst>
                                        </p:cTn>
                                        <p:tgtEl>
                                          <p:spTgt spid="46"/>
                                        </p:tgtEl>
                                        <p:attrNameLst>
                                          <p:attrName>style.visibility</p:attrName>
                                        </p:attrNameLst>
                                      </p:cBhvr>
                                      <p:to>
                                        <p:strVal val="visible"/>
                                      </p:to>
                                    </p:set>
                                    <p:animEffect transition="in" filter="fade">
                                      <p:cBhvr>
                                        <p:cTn id="157" dur="1000"/>
                                        <p:tgtEl>
                                          <p:spTgt spid="46"/>
                                        </p:tgtEl>
                                      </p:cBhvr>
                                    </p:animEffect>
                                    <p:anim calcmode="lin" valueType="num">
                                      <p:cBhvr>
                                        <p:cTn id="158" dur="1000" fill="hold"/>
                                        <p:tgtEl>
                                          <p:spTgt spid="46"/>
                                        </p:tgtEl>
                                        <p:attrNameLst>
                                          <p:attrName>ppt_x</p:attrName>
                                        </p:attrNameLst>
                                      </p:cBhvr>
                                      <p:tavLst>
                                        <p:tav tm="0">
                                          <p:val>
                                            <p:strVal val="#ppt_x"/>
                                          </p:val>
                                        </p:tav>
                                        <p:tav tm="100000">
                                          <p:val>
                                            <p:strVal val="#ppt_x"/>
                                          </p:val>
                                        </p:tav>
                                      </p:tavLst>
                                    </p:anim>
                                    <p:anim calcmode="lin" valueType="num">
                                      <p:cBhvr>
                                        <p:cTn id="159" dur="1000" fill="hold"/>
                                        <p:tgtEl>
                                          <p:spTgt spid="46"/>
                                        </p:tgtEl>
                                        <p:attrNameLst>
                                          <p:attrName>ppt_y</p:attrName>
                                        </p:attrNameLst>
                                      </p:cBhvr>
                                      <p:tavLst>
                                        <p:tav tm="0">
                                          <p:val>
                                            <p:strVal val="#ppt_y-.1"/>
                                          </p:val>
                                        </p:tav>
                                        <p:tav tm="100000">
                                          <p:val>
                                            <p:strVal val="#ppt_y"/>
                                          </p:val>
                                        </p:tav>
                                      </p:tavLst>
                                    </p:anim>
                                  </p:childTnLst>
                                </p:cTn>
                              </p:par>
                              <p:par>
                                <p:cTn id="160" presetID="47" presetClass="entr" presetSubtype="0" fill="hold" grpId="0" nodeType="withEffect">
                                  <p:stCondLst>
                                    <p:cond delay="0"/>
                                  </p:stCondLst>
                                  <p:childTnLst>
                                    <p:set>
                                      <p:cBhvr>
                                        <p:cTn id="161" dur="1" fill="hold">
                                          <p:stCondLst>
                                            <p:cond delay="0"/>
                                          </p:stCondLst>
                                        </p:cTn>
                                        <p:tgtEl>
                                          <p:spTgt spid="47"/>
                                        </p:tgtEl>
                                        <p:attrNameLst>
                                          <p:attrName>style.visibility</p:attrName>
                                        </p:attrNameLst>
                                      </p:cBhvr>
                                      <p:to>
                                        <p:strVal val="visible"/>
                                      </p:to>
                                    </p:set>
                                    <p:animEffect transition="in" filter="fade">
                                      <p:cBhvr>
                                        <p:cTn id="162" dur="1000"/>
                                        <p:tgtEl>
                                          <p:spTgt spid="47"/>
                                        </p:tgtEl>
                                      </p:cBhvr>
                                    </p:animEffect>
                                    <p:anim calcmode="lin" valueType="num">
                                      <p:cBhvr>
                                        <p:cTn id="163" dur="1000" fill="hold"/>
                                        <p:tgtEl>
                                          <p:spTgt spid="47"/>
                                        </p:tgtEl>
                                        <p:attrNameLst>
                                          <p:attrName>ppt_x</p:attrName>
                                        </p:attrNameLst>
                                      </p:cBhvr>
                                      <p:tavLst>
                                        <p:tav tm="0">
                                          <p:val>
                                            <p:strVal val="#ppt_x"/>
                                          </p:val>
                                        </p:tav>
                                        <p:tav tm="100000">
                                          <p:val>
                                            <p:strVal val="#ppt_x"/>
                                          </p:val>
                                        </p:tav>
                                      </p:tavLst>
                                    </p:anim>
                                    <p:anim calcmode="lin" valueType="num">
                                      <p:cBhvr>
                                        <p:cTn id="164" dur="1000" fill="hold"/>
                                        <p:tgtEl>
                                          <p:spTgt spid="47"/>
                                        </p:tgtEl>
                                        <p:attrNameLst>
                                          <p:attrName>ppt_y</p:attrName>
                                        </p:attrNameLst>
                                      </p:cBhvr>
                                      <p:tavLst>
                                        <p:tav tm="0">
                                          <p:val>
                                            <p:strVal val="#ppt_y-.1"/>
                                          </p:val>
                                        </p:tav>
                                        <p:tav tm="100000">
                                          <p:val>
                                            <p:strVal val="#ppt_y"/>
                                          </p:val>
                                        </p:tav>
                                      </p:tavLst>
                                    </p:anim>
                                  </p:childTnLst>
                                </p:cTn>
                              </p:par>
                              <p:par>
                                <p:cTn id="165" presetID="47" presetClass="entr" presetSubtype="0" fill="hold" grpId="0" nodeType="withEffect">
                                  <p:stCondLst>
                                    <p:cond delay="0"/>
                                  </p:stCondLst>
                                  <p:childTnLst>
                                    <p:set>
                                      <p:cBhvr>
                                        <p:cTn id="166" dur="1" fill="hold">
                                          <p:stCondLst>
                                            <p:cond delay="0"/>
                                          </p:stCondLst>
                                        </p:cTn>
                                        <p:tgtEl>
                                          <p:spTgt spid="48"/>
                                        </p:tgtEl>
                                        <p:attrNameLst>
                                          <p:attrName>style.visibility</p:attrName>
                                        </p:attrNameLst>
                                      </p:cBhvr>
                                      <p:to>
                                        <p:strVal val="visible"/>
                                      </p:to>
                                    </p:set>
                                    <p:animEffect transition="in" filter="fade">
                                      <p:cBhvr>
                                        <p:cTn id="167" dur="1000"/>
                                        <p:tgtEl>
                                          <p:spTgt spid="48"/>
                                        </p:tgtEl>
                                      </p:cBhvr>
                                    </p:animEffect>
                                    <p:anim calcmode="lin" valueType="num">
                                      <p:cBhvr>
                                        <p:cTn id="168" dur="1000" fill="hold"/>
                                        <p:tgtEl>
                                          <p:spTgt spid="48"/>
                                        </p:tgtEl>
                                        <p:attrNameLst>
                                          <p:attrName>ppt_x</p:attrName>
                                        </p:attrNameLst>
                                      </p:cBhvr>
                                      <p:tavLst>
                                        <p:tav tm="0">
                                          <p:val>
                                            <p:strVal val="#ppt_x"/>
                                          </p:val>
                                        </p:tav>
                                        <p:tav tm="100000">
                                          <p:val>
                                            <p:strVal val="#ppt_x"/>
                                          </p:val>
                                        </p:tav>
                                      </p:tavLst>
                                    </p:anim>
                                    <p:anim calcmode="lin" valueType="num">
                                      <p:cBhvr>
                                        <p:cTn id="169" dur="1000" fill="hold"/>
                                        <p:tgtEl>
                                          <p:spTgt spid="48"/>
                                        </p:tgtEl>
                                        <p:attrNameLst>
                                          <p:attrName>ppt_y</p:attrName>
                                        </p:attrNameLst>
                                      </p:cBhvr>
                                      <p:tavLst>
                                        <p:tav tm="0">
                                          <p:val>
                                            <p:strVal val="#ppt_y-.1"/>
                                          </p:val>
                                        </p:tav>
                                        <p:tav tm="100000">
                                          <p:val>
                                            <p:strVal val="#ppt_y"/>
                                          </p:val>
                                        </p:tav>
                                      </p:tavLst>
                                    </p:anim>
                                  </p:childTnLst>
                                </p:cTn>
                              </p:par>
                              <p:par>
                                <p:cTn id="170" presetID="47" presetClass="entr" presetSubtype="0" fill="hold" grpId="0" nodeType="withEffect">
                                  <p:stCondLst>
                                    <p:cond delay="0"/>
                                  </p:stCondLst>
                                  <p:childTnLst>
                                    <p:set>
                                      <p:cBhvr>
                                        <p:cTn id="171" dur="1" fill="hold">
                                          <p:stCondLst>
                                            <p:cond delay="0"/>
                                          </p:stCondLst>
                                        </p:cTn>
                                        <p:tgtEl>
                                          <p:spTgt spid="49"/>
                                        </p:tgtEl>
                                        <p:attrNameLst>
                                          <p:attrName>style.visibility</p:attrName>
                                        </p:attrNameLst>
                                      </p:cBhvr>
                                      <p:to>
                                        <p:strVal val="visible"/>
                                      </p:to>
                                    </p:set>
                                    <p:animEffect transition="in" filter="fade">
                                      <p:cBhvr>
                                        <p:cTn id="172" dur="1000"/>
                                        <p:tgtEl>
                                          <p:spTgt spid="49"/>
                                        </p:tgtEl>
                                      </p:cBhvr>
                                    </p:animEffect>
                                    <p:anim calcmode="lin" valueType="num">
                                      <p:cBhvr>
                                        <p:cTn id="173" dur="1000" fill="hold"/>
                                        <p:tgtEl>
                                          <p:spTgt spid="49"/>
                                        </p:tgtEl>
                                        <p:attrNameLst>
                                          <p:attrName>ppt_x</p:attrName>
                                        </p:attrNameLst>
                                      </p:cBhvr>
                                      <p:tavLst>
                                        <p:tav tm="0">
                                          <p:val>
                                            <p:strVal val="#ppt_x"/>
                                          </p:val>
                                        </p:tav>
                                        <p:tav tm="100000">
                                          <p:val>
                                            <p:strVal val="#ppt_x"/>
                                          </p:val>
                                        </p:tav>
                                      </p:tavLst>
                                    </p:anim>
                                    <p:anim calcmode="lin" valueType="num">
                                      <p:cBhvr>
                                        <p:cTn id="174" dur="1000" fill="hold"/>
                                        <p:tgtEl>
                                          <p:spTgt spid="49"/>
                                        </p:tgtEl>
                                        <p:attrNameLst>
                                          <p:attrName>ppt_y</p:attrName>
                                        </p:attrNameLst>
                                      </p:cBhvr>
                                      <p:tavLst>
                                        <p:tav tm="0">
                                          <p:val>
                                            <p:strVal val="#ppt_y-.1"/>
                                          </p:val>
                                        </p:tav>
                                        <p:tav tm="100000">
                                          <p:val>
                                            <p:strVal val="#ppt_y"/>
                                          </p:val>
                                        </p:tav>
                                      </p:tavLst>
                                    </p:anim>
                                  </p:childTnLst>
                                </p:cTn>
                              </p:par>
                              <p:par>
                                <p:cTn id="175" presetID="47" presetClass="entr" presetSubtype="0" fill="hold" grpId="0" nodeType="withEffect">
                                  <p:stCondLst>
                                    <p:cond delay="0"/>
                                  </p:stCondLst>
                                  <p:childTnLst>
                                    <p:set>
                                      <p:cBhvr>
                                        <p:cTn id="176" dur="1" fill="hold">
                                          <p:stCondLst>
                                            <p:cond delay="0"/>
                                          </p:stCondLst>
                                        </p:cTn>
                                        <p:tgtEl>
                                          <p:spTgt spid="50"/>
                                        </p:tgtEl>
                                        <p:attrNameLst>
                                          <p:attrName>style.visibility</p:attrName>
                                        </p:attrNameLst>
                                      </p:cBhvr>
                                      <p:to>
                                        <p:strVal val="visible"/>
                                      </p:to>
                                    </p:set>
                                    <p:animEffect transition="in" filter="fade">
                                      <p:cBhvr>
                                        <p:cTn id="177" dur="1000"/>
                                        <p:tgtEl>
                                          <p:spTgt spid="50"/>
                                        </p:tgtEl>
                                      </p:cBhvr>
                                    </p:animEffect>
                                    <p:anim calcmode="lin" valueType="num">
                                      <p:cBhvr>
                                        <p:cTn id="178" dur="1000" fill="hold"/>
                                        <p:tgtEl>
                                          <p:spTgt spid="50"/>
                                        </p:tgtEl>
                                        <p:attrNameLst>
                                          <p:attrName>ppt_x</p:attrName>
                                        </p:attrNameLst>
                                      </p:cBhvr>
                                      <p:tavLst>
                                        <p:tav tm="0">
                                          <p:val>
                                            <p:strVal val="#ppt_x"/>
                                          </p:val>
                                        </p:tav>
                                        <p:tav tm="100000">
                                          <p:val>
                                            <p:strVal val="#ppt_x"/>
                                          </p:val>
                                        </p:tav>
                                      </p:tavLst>
                                    </p:anim>
                                    <p:anim calcmode="lin" valueType="num">
                                      <p:cBhvr>
                                        <p:cTn id="179" dur="1000" fill="hold"/>
                                        <p:tgtEl>
                                          <p:spTgt spid="50"/>
                                        </p:tgtEl>
                                        <p:attrNameLst>
                                          <p:attrName>ppt_y</p:attrName>
                                        </p:attrNameLst>
                                      </p:cBhvr>
                                      <p:tavLst>
                                        <p:tav tm="0">
                                          <p:val>
                                            <p:strVal val="#ppt_y-.1"/>
                                          </p:val>
                                        </p:tav>
                                        <p:tav tm="100000">
                                          <p:val>
                                            <p:strVal val="#ppt_y"/>
                                          </p:val>
                                        </p:tav>
                                      </p:tavLst>
                                    </p:anim>
                                  </p:childTnLst>
                                </p:cTn>
                              </p:par>
                              <p:par>
                                <p:cTn id="180" presetID="47" presetClass="entr" presetSubtype="0" fill="hold" grpId="0" nodeType="withEffect">
                                  <p:stCondLst>
                                    <p:cond delay="0"/>
                                  </p:stCondLst>
                                  <p:childTnLst>
                                    <p:set>
                                      <p:cBhvr>
                                        <p:cTn id="181" dur="1" fill="hold">
                                          <p:stCondLst>
                                            <p:cond delay="0"/>
                                          </p:stCondLst>
                                        </p:cTn>
                                        <p:tgtEl>
                                          <p:spTgt spid="84"/>
                                        </p:tgtEl>
                                        <p:attrNameLst>
                                          <p:attrName>style.visibility</p:attrName>
                                        </p:attrNameLst>
                                      </p:cBhvr>
                                      <p:to>
                                        <p:strVal val="visible"/>
                                      </p:to>
                                    </p:set>
                                    <p:animEffect transition="in" filter="fade">
                                      <p:cBhvr>
                                        <p:cTn id="182" dur="1000"/>
                                        <p:tgtEl>
                                          <p:spTgt spid="84"/>
                                        </p:tgtEl>
                                      </p:cBhvr>
                                    </p:animEffect>
                                    <p:anim calcmode="lin" valueType="num">
                                      <p:cBhvr>
                                        <p:cTn id="183" dur="1000" fill="hold"/>
                                        <p:tgtEl>
                                          <p:spTgt spid="84"/>
                                        </p:tgtEl>
                                        <p:attrNameLst>
                                          <p:attrName>ppt_x</p:attrName>
                                        </p:attrNameLst>
                                      </p:cBhvr>
                                      <p:tavLst>
                                        <p:tav tm="0">
                                          <p:val>
                                            <p:strVal val="#ppt_x"/>
                                          </p:val>
                                        </p:tav>
                                        <p:tav tm="100000">
                                          <p:val>
                                            <p:strVal val="#ppt_x"/>
                                          </p:val>
                                        </p:tav>
                                      </p:tavLst>
                                    </p:anim>
                                    <p:anim calcmode="lin" valueType="num">
                                      <p:cBhvr>
                                        <p:cTn id="184" dur="1000" fill="hold"/>
                                        <p:tgtEl>
                                          <p:spTgt spid="84"/>
                                        </p:tgtEl>
                                        <p:attrNameLst>
                                          <p:attrName>ppt_y</p:attrName>
                                        </p:attrNameLst>
                                      </p:cBhvr>
                                      <p:tavLst>
                                        <p:tav tm="0">
                                          <p:val>
                                            <p:strVal val="#ppt_y-.1"/>
                                          </p:val>
                                        </p:tav>
                                        <p:tav tm="100000">
                                          <p:val>
                                            <p:strVal val="#ppt_y"/>
                                          </p:val>
                                        </p:tav>
                                      </p:tavLst>
                                    </p:anim>
                                  </p:childTnLst>
                                </p:cTn>
                              </p:par>
                              <p:par>
                                <p:cTn id="185" presetID="47" presetClass="entr" presetSubtype="0" fill="hold" grpId="0" nodeType="withEffect">
                                  <p:stCondLst>
                                    <p:cond delay="0"/>
                                  </p:stCondLst>
                                  <p:childTnLst>
                                    <p:set>
                                      <p:cBhvr>
                                        <p:cTn id="186" dur="1" fill="hold">
                                          <p:stCondLst>
                                            <p:cond delay="0"/>
                                          </p:stCondLst>
                                        </p:cTn>
                                        <p:tgtEl>
                                          <p:spTgt spid="85"/>
                                        </p:tgtEl>
                                        <p:attrNameLst>
                                          <p:attrName>style.visibility</p:attrName>
                                        </p:attrNameLst>
                                      </p:cBhvr>
                                      <p:to>
                                        <p:strVal val="visible"/>
                                      </p:to>
                                    </p:set>
                                    <p:animEffect transition="in" filter="fade">
                                      <p:cBhvr>
                                        <p:cTn id="187" dur="1000"/>
                                        <p:tgtEl>
                                          <p:spTgt spid="85"/>
                                        </p:tgtEl>
                                      </p:cBhvr>
                                    </p:animEffect>
                                    <p:anim calcmode="lin" valueType="num">
                                      <p:cBhvr>
                                        <p:cTn id="188" dur="1000" fill="hold"/>
                                        <p:tgtEl>
                                          <p:spTgt spid="85"/>
                                        </p:tgtEl>
                                        <p:attrNameLst>
                                          <p:attrName>ppt_x</p:attrName>
                                        </p:attrNameLst>
                                      </p:cBhvr>
                                      <p:tavLst>
                                        <p:tav tm="0">
                                          <p:val>
                                            <p:strVal val="#ppt_x"/>
                                          </p:val>
                                        </p:tav>
                                        <p:tav tm="100000">
                                          <p:val>
                                            <p:strVal val="#ppt_x"/>
                                          </p:val>
                                        </p:tav>
                                      </p:tavLst>
                                    </p:anim>
                                    <p:anim calcmode="lin" valueType="num">
                                      <p:cBhvr>
                                        <p:cTn id="189" dur="1000" fill="hold"/>
                                        <p:tgtEl>
                                          <p:spTgt spid="85"/>
                                        </p:tgtEl>
                                        <p:attrNameLst>
                                          <p:attrName>ppt_y</p:attrName>
                                        </p:attrNameLst>
                                      </p:cBhvr>
                                      <p:tavLst>
                                        <p:tav tm="0">
                                          <p:val>
                                            <p:strVal val="#ppt_y-.1"/>
                                          </p:val>
                                        </p:tav>
                                        <p:tav tm="100000">
                                          <p:val>
                                            <p:strVal val="#ppt_y"/>
                                          </p:val>
                                        </p:tav>
                                      </p:tavLst>
                                    </p:anim>
                                  </p:childTnLst>
                                </p:cTn>
                              </p:par>
                              <p:par>
                                <p:cTn id="190" presetID="47" presetClass="entr" presetSubtype="0" fill="hold" grpId="0" nodeType="withEffect">
                                  <p:stCondLst>
                                    <p:cond delay="0"/>
                                  </p:stCondLst>
                                  <p:childTnLst>
                                    <p:set>
                                      <p:cBhvr>
                                        <p:cTn id="191" dur="1" fill="hold">
                                          <p:stCondLst>
                                            <p:cond delay="0"/>
                                          </p:stCondLst>
                                        </p:cTn>
                                        <p:tgtEl>
                                          <p:spTgt spid="86"/>
                                        </p:tgtEl>
                                        <p:attrNameLst>
                                          <p:attrName>style.visibility</p:attrName>
                                        </p:attrNameLst>
                                      </p:cBhvr>
                                      <p:to>
                                        <p:strVal val="visible"/>
                                      </p:to>
                                    </p:set>
                                    <p:animEffect transition="in" filter="fade">
                                      <p:cBhvr>
                                        <p:cTn id="192" dur="1000"/>
                                        <p:tgtEl>
                                          <p:spTgt spid="86"/>
                                        </p:tgtEl>
                                      </p:cBhvr>
                                    </p:animEffect>
                                    <p:anim calcmode="lin" valueType="num">
                                      <p:cBhvr>
                                        <p:cTn id="193" dur="1000" fill="hold"/>
                                        <p:tgtEl>
                                          <p:spTgt spid="86"/>
                                        </p:tgtEl>
                                        <p:attrNameLst>
                                          <p:attrName>ppt_x</p:attrName>
                                        </p:attrNameLst>
                                      </p:cBhvr>
                                      <p:tavLst>
                                        <p:tav tm="0">
                                          <p:val>
                                            <p:strVal val="#ppt_x"/>
                                          </p:val>
                                        </p:tav>
                                        <p:tav tm="100000">
                                          <p:val>
                                            <p:strVal val="#ppt_x"/>
                                          </p:val>
                                        </p:tav>
                                      </p:tavLst>
                                    </p:anim>
                                    <p:anim calcmode="lin" valueType="num">
                                      <p:cBhvr>
                                        <p:cTn id="194" dur="1000" fill="hold"/>
                                        <p:tgtEl>
                                          <p:spTgt spid="86"/>
                                        </p:tgtEl>
                                        <p:attrNameLst>
                                          <p:attrName>ppt_y</p:attrName>
                                        </p:attrNameLst>
                                      </p:cBhvr>
                                      <p:tavLst>
                                        <p:tav tm="0">
                                          <p:val>
                                            <p:strVal val="#ppt_y-.1"/>
                                          </p:val>
                                        </p:tav>
                                        <p:tav tm="100000">
                                          <p:val>
                                            <p:strVal val="#ppt_y"/>
                                          </p:val>
                                        </p:tav>
                                      </p:tavLst>
                                    </p:anim>
                                  </p:childTnLst>
                                </p:cTn>
                              </p:par>
                              <p:par>
                                <p:cTn id="195" presetID="47" presetClass="entr" presetSubtype="0" fill="hold" grpId="0" nodeType="withEffect">
                                  <p:stCondLst>
                                    <p:cond delay="0"/>
                                  </p:stCondLst>
                                  <p:childTnLst>
                                    <p:set>
                                      <p:cBhvr>
                                        <p:cTn id="196" dur="1" fill="hold">
                                          <p:stCondLst>
                                            <p:cond delay="0"/>
                                          </p:stCondLst>
                                        </p:cTn>
                                        <p:tgtEl>
                                          <p:spTgt spid="87"/>
                                        </p:tgtEl>
                                        <p:attrNameLst>
                                          <p:attrName>style.visibility</p:attrName>
                                        </p:attrNameLst>
                                      </p:cBhvr>
                                      <p:to>
                                        <p:strVal val="visible"/>
                                      </p:to>
                                    </p:set>
                                    <p:animEffect transition="in" filter="fade">
                                      <p:cBhvr>
                                        <p:cTn id="197" dur="1000"/>
                                        <p:tgtEl>
                                          <p:spTgt spid="87"/>
                                        </p:tgtEl>
                                      </p:cBhvr>
                                    </p:animEffect>
                                    <p:anim calcmode="lin" valueType="num">
                                      <p:cBhvr>
                                        <p:cTn id="198" dur="1000" fill="hold"/>
                                        <p:tgtEl>
                                          <p:spTgt spid="87"/>
                                        </p:tgtEl>
                                        <p:attrNameLst>
                                          <p:attrName>ppt_x</p:attrName>
                                        </p:attrNameLst>
                                      </p:cBhvr>
                                      <p:tavLst>
                                        <p:tav tm="0">
                                          <p:val>
                                            <p:strVal val="#ppt_x"/>
                                          </p:val>
                                        </p:tav>
                                        <p:tav tm="100000">
                                          <p:val>
                                            <p:strVal val="#ppt_x"/>
                                          </p:val>
                                        </p:tav>
                                      </p:tavLst>
                                    </p:anim>
                                    <p:anim calcmode="lin" valueType="num">
                                      <p:cBhvr>
                                        <p:cTn id="199" dur="1000" fill="hold"/>
                                        <p:tgtEl>
                                          <p:spTgt spid="87"/>
                                        </p:tgtEl>
                                        <p:attrNameLst>
                                          <p:attrName>ppt_y</p:attrName>
                                        </p:attrNameLst>
                                      </p:cBhvr>
                                      <p:tavLst>
                                        <p:tav tm="0">
                                          <p:val>
                                            <p:strVal val="#ppt_y-.1"/>
                                          </p:val>
                                        </p:tav>
                                        <p:tav tm="100000">
                                          <p:val>
                                            <p:strVal val="#ppt_y"/>
                                          </p:val>
                                        </p:tav>
                                      </p:tavLst>
                                    </p:anim>
                                  </p:childTnLst>
                                </p:cTn>
                              </p:par>
                              <p:par>
                                <p:cTn id="200" presetID="42" presetClass="entr" presetSubtype="0" fill="hold" grpId="0" nodeType="withEffect">
                                  <p:stCondLst>
                                    <p:cond delay="0"/>
                                  </p:stCondLst>
                                  <p:childTnLst>
                                    <p:set>
                                      <p:cBhvr>
                                        <p:cTn id="201" dur="1" fill="hold">
                                          <p:stCondLst>
                                            <p:cond delay="0"/>
                                          </p:stCondLst>
                                        </p:cTn>
                                        <p:tgtEl>
                                          <p:spTgt spid="91"/>
                                        </p:tgtEl>
                                        <p:attrNameLst>
                                          <p:attrName>style.visibility</p:attrName>
                                        </p:attrNameLst>
                                      </p:cBhvr>
                                      <p:to>
                                        <p:strVal val="visible"/>
                                      </p:to>
                                    </p:set>
                                    <p:animEffect transition="in" filter="fade">
                                      <p:cBhvr>
                                        <p:cTn id="202" dur="1000"/>
                                        <p:tgtEl>
                                          <p:spTgt spid="91"/>
                                        </p:tgtEl>
                                      </p:cBhvr>
                                    </p:animEffect>
                                    <p:anim calcmode="lin" valueType="num">
                                      <p:cBhvr>
                                        <p:cTn id="203" dur="1000" fill="hold"/>
                                        <p:tgtEl>
                                          <p:spTgt spid="91"/>
                                        </p:tgtEl>
                                        <p:attrNameLst>
                                          <p:attrName>ppt_x</p:attrName>
                                        </p:attrNameLst>
                                      </p:cBhvr>
                                      <p:tavLst>
                                        <p:tav tm="0">
                                          <p:val>
                                            <p:strVal val="#ppt_x"/>
                                          </p:val>
                                        </p:tav>
                                        <p:tav tm="100000">
                                          <p:val>
                                            <p:strVal val="#ppt_x"/>
                                          </p:val>
                                        </p:tav>
                                      </p:tavLst>
                                    </p:anim>
                                    <p:anim calcmode="lin" valueType="num">
                                      <p:cBhvr>
                                        <p:cTn id="204" dur="1000" fill="hold"/>
                                        <p:tgtEl>
                                          <p:spTgt spid="91"/>
                                        </p:tgtEl>
                                        <p:attrNameLst>
                                          <p:attrName>ppt_y</p:attrName>
                                        </p:attrNameLst>
                                      </p:cBhvr>
                                      <p:tavLst>
                                        <p:tav tm="0">
                                          <p:val>
                                            <p:strVal val="#ppt_y+.1"/>
                                          </p:val>
                                        </p:tav>
                                        <p:tav tm="100000">
                                          <p:val>
                                            <p:strVal val="#ppt_y"/>
                                          </p:val>
                                        </p:tav>
                                      </p:tavLst>
                                    </p:anim>
                                  </p:childTnLst>
                                </p:cTn>
                              </p:par>
                              <p:par>
                                <p:cTn id="205" presetID="42" presetClass="entr" presetSubtype="0" fill="hold" grpId="0" nodeType="withEffect">
                                  <p:stCondLst>
                                    <p:cond delay="0"/>
                                  </p:stCondLst>
                                  <p:childTnLst>
                                    <p:set>
                                      <p:cBhvr>
                                        <p:cTn id="206" dur="1" fill="hold">
                                          <p:stCondLst>
                                            <p:cond delay="0"/>
                                          </p:stCondLst>
                                        </p:cTn>
                                        <p:tgtEl>
                                          <p:spTgt spid="92"/>
                                        </p:tgtEl>
                                        <p:attrNameLst>
                                          <p:attrName>style.visibility</p:attrName>
                                        </p:attrNameLst>
                                      </p:cBhvr>
                                      <p:to>
                                        <p:strVal val="visible"/>
                                      </p:to>
                                    </p:set>
                                    <p:animEffect transition="in" filter="fade">
                                      <p:cBhvr>
                                        <p:cTn id="207" dur="1000"/>
                                        <p:tgtEl>
                                          <p:spTgt spid="92"/>
                                        </p:tgtEl>
                                      </p:cBhvr>
                                    </p:animEffect>
                                    <p:anim calcmode="lin" valueType="num">
                                      <p:cBhvr>
                                        <p:cTn id="208" dur="1000" fill="hold"/>
                                        <p:tgtEl>
                                          <p:spTgt spid="92"/>
                                        </p:tgtEl>
                                        <p:attrNameLst>
                                          <p:attrName>ppt_x</p:attrName>
                                        </p:attrNameLst>
                                      </p:cBhvr>
                                      <p:tavLst>
                                        <p:tav tm="0">
                                          <p:val>
                                            <p:strVal val="#ppt_x"/>
                                          </p:val>
                                        </p:tav>
                                        <p:tav tm="100000">
                                          <p:val>
                                            <p:strVal val="#ppt_x"/>
                                          </p:val>
                                        </p:tav>
                                      </p:tavLst>
                                    </p:anim>
                                    <p:anim calcmode="lin" valueType="num">
                                      <p:cBhvr>
                                        <p:cTn id="209" dur="1000" fill="hold"/>
                                        <p:tgtEl>
                                          <p:spTgt spid="92"/>
                                        </p:tgtEl>
                                        <p:attrNameLst>
                                          <p:attrName>ppt_y</p:attrName>
                                        </p:attrNameLst>
                                      </p:cBhvr>
                                      <p:tavLst>
                                        <p:tav tm="0">
                                          <p:val>
                                            <p:strVal val="#ppt_y+.1"/>
                                          </p:val>
                                        </p:tav>
                                        <p:tav tm="100000">
                                          <p:val>
                                            <p:strVal val="#ppt_y"/>
                                          </p:val>
                                        </p:tav>
                                      </p:tavLst>
                                    </p:anim>
                                  </p:childTnLst>
                                </p:cTn>
                              </p:par>
                              <p:par>
                                <p:cTn id="210" presetID="42" presetClass="entr" presetSubtype="0" fill="hold" grpId="0" nodeType="withEffect">
                                  <p:stCondLst>
                                    <p:cond delay="0"/>
                                  </p:stCondLst>
                                  <p:childTnLst>
                                    <p:set>
                                      <p:cBhvr>
                                        <p:cTn id="211" dur="1" fill="hold">
                                          <p:stCondLst>
                                            <p:cond delay="0"/>
                                          </p:stCondLst>
                                        </p:cTn>
                                        <p:tgtEl>
                                          <p:spTgt spid="93"/>
                                        </p:tgtEl>
                                        <p:attrNameLst>
                                          <p:attrName>style.visibility</p:attrName>
                                        </p:attrNameLst>
                                      </p:cBhvr>
                                      <p:to>
                                        <p:strVal val="visible"/>
                                      </p:to>
                                    </p:set>
                                    <p:animEffect transition="in" filter="fade">
                                      <p:cBhvr>
                                        <p:cTn id="212" dur="1000"/>
                                        <p:tgtEl>
                                          <p:spTgt spid="93"/>
                                        </p:tgtEl>
                                      </p:cBhvr>
                                    </p:animEffect>
                                    <p:anim calcmode="lin" valueType="num">
                                      <p:cBhvr>
                                        <p:cTn id="213" dur="1000" fill="hold"/>
                                        <p:tgtEl>
                                          <p:spTgt spid="93"/>
                                        </p:tgtEl>
                                        <p:attrNameLst>
                                          <p:attrName>ppt_x</p:attrName>
                                        </p:attrNameLst>
                                      </p:cBhvr>
                                      <p:tavLst>
                                        <p:tav tm="0">
                                          <p:val>
                                            <p:strVal val="#ppt_x"/>
                                          </p:val>
                                        </p:tav>
                                        <p:tav tm="100000">
                                          <p:val>
                                            <p:strVal val="#ppt_x"/>
                                          </p:val>
                                        </p:tav>
                                      </p:tavLst>
                                    </p:anim>
                                    <p:anim calcmode="lin" valueType="num">
                                      <p:cBhvr>
                                        <p:cTn id="214" dur="1000" fill="hold"/>
                                        <p:tgtEl>
                                          <p:spTgt spid="93"/>
                                        </p:tgtEl>
                                        <p:attrNameLst>
                                          <p:attrName>ppt_y</p:attrName>
                                        </p:attrNameLst>
                                      </p:cBhvr>
                                      <p:tavLst>
                                        <p:tav tm="0">
                                          <p:val>
                                            <p:strVal val="#ppt_y+.1"/>
                                          </p:val>
                                        </p:tav>
                                        <p:tav tm="100000">
                                          <p:val>
                                            <p:strVal val="#ppt_y"/>
                                          </p:val>
                                        </p:tav>
                                      </p:tavLst>
                                    </p:anim>
                                  </p:childTnLst>
                                </p:cTn>
                              </p:par>
                              <p:par>
                                <p:cTn id="215" presetID="42" presetClass="entr" presetSubtype="0" fill="hold" grpId="0" nodeType="withEffect">
                                  <p:stCondLst>
                                    <p:cond delay="0"/>
                                  </p:stCondLst>
                                  <p:childTnLst>
                                    <p:set>
                                      <p:cBhvr>
                                        <p:cTn id="216" dur="1" fill="hold">
                                          <p:stCondLst>
                                            <p:cond delay="0"/>
                                          </p:stCondLst>
                                        </p:cTn>
                                        <p:tgtEl>
                                          <p:spTgt spid="94"/>
                                        </p:tgtEl>
                                        <p:attrNameLst>
                                          <p:attrName>style.visibility</p:attrName>
                                        </p:attrNameLst>
                                      </p:cBhvr>
                                      <p:to>
                                        <p:strVal val="visible"/>
                                      </p:to>
                                    </p:set>
                                    <p:animEffect transition="in" filter="fade">
                                      <p:cBhvr>
                                        <p:cTn id="217" dur="1000"/>
                                        <p:tgtEl>
                                          <p:spTgt spid="94"/>
                                        </p:tgtEl>
                                      </p:cBhvr>
                                    </p:animEffect>
                                    <p:anim calcmode="lin" valueType="num">
                                      <p:cBhvr>
                                        <p:cTn id="218" dur="1000" fill="hold"/>
                                        <p:tgtEl>
                                          <p:spTgt spid="94"/>
                                        </p:tgtEl>
                                        <p:attrNameLst>
                                          <p:attrName>ppt_x</p:attrName>
                                        </p:attrNameLst>
                                      </p:cBhvr>
                                      <p:tavLst>
                                        <p:tav tm="0">
                                          <p:val>
                                            <p:strVal val="#ppt_x"/>
                                          </p:val>
                                        </p:tav>
                                        <p:tav tm="100000">
                                          <p:val>
                                            <p:strVal val="#ppt_x"/>
                                          </p:val>
                                        </p:tav>
                                      </p:tavLst>
                                    </p:anim>
                                    <p:anim calcmode="lin" valueType="num">
                                      <p:cBhvr>
                                        <p:cTn id="219" dur="1000" fill="hold"/>
                                        <p:tgtEl>
                                          <p:spTgt spid="94"/>
                                        </p:tgtEl>
                                        <p:attrNameLst>
                                          <p:attrName>ppt_y</p:attrName>
                                        </p:attrNameLst>
                                      </p:cBhvr>
                                      <p:tavLst>
                                        <p:tav tm="0">
                                          <p:val>
                                            <p:strVal val="#ppt_y+.1"/>
                                          </p:val>
                                        </p:tav>
                                        <p:tav tm="100000">
                                          <p:val>
                                            <p:strVal val="#ppt_y"/>
                                          </p:val>
                                        </p:tav>
                                      </p:tavLst>
                                    </p:anim>
                                  </p:childTnLst>
                                </p:cTn>
                              </p:par>
                              <p:par>
                                <p:cTn id="220" presetID="42" presetClass="entr" presetSubtype="0" fill="hold" grpId="0" nodeType="withEffect">
                                  <p:stCondLst>
                                    <p:cond delay="0"/>
                                  </p:stCondLst>
                                  <p:childTnLst>
                                    <p:set>
                                      <p:cBhvr>
                                        <p:cTn id="221" dur="1" fill="hold">
                                          <p:stCondLst>
                                            <p:cond delay="0"/>
                                          </p:stCondLst>
                                        </p:cTn>
                                        <p:tgtEl>
                                          <p:spTgt spid="95"/>
                                        </p:tgtEl>
                                        <p:attrNameLst>
                                          <p:attrName>style.visibility</p:attrName>
                                        </p:attrNameLst>
                                      </p:cBhvr>
                                      <p:to>
                                        <p:strVal val="visible"/>
                                      </p:to>
                                    </p:set>
                                    <p:animEffect transition="in" filter="fade">
                                      <p:cBhvr>
                                        <p:cTn id="222" dur="1000"/>
                                        <p:tgtEl>
                                          <p:spTgt spid="95"/>
                                        </p:tgtEl>
                                      </p:cBhvr>
                                    </p:animEffect>
                                    <p:anim calcmode="lin" valueType="num">
                                      <p:cBhvr>
                                        <p:cTn id="223" dur="1000" fill="hold"/>
                                        <p:tgtEl>
                                          <p:spTgt spid="95"/>
                                        </p:tgtEl>
                                        <p:attrNameLst>
                                          <p:attrName>ppt_x</p:attrName>
                                        </p:attrNameLst>
                                      </p:cBhvr>
                                      <p:tavLst>
                                        <p:tav tm="0">
                                          <p:val>
                                            <p:strVal val="#ppt_x"/>
                                          </p:val>
                                        </p:tav>
                                        <p:tav tm="100000">
                                          <p:val>
                                            <p:strVal val="#ppt_x"/>
                                          </p:val>
                                        </p:tav>
                                      </p:tavLst>
                                    </p:anim>
                                    <p:anim calcmode="lin" valueType="num">
                                      <p:cBhvr>
                                        <p:cTn id="224" dur="1000" fill="hold"/>
                                        <p:tgtEl>
                                          <p:spTgt spid="95"/>
                                        </p:tgtEl>
                                        <p:attrNameLst>
                                          <p:attrName>ppt_y</p:attrName>
                                        </p:attrNameLst>
                                      </p:cBhvr>
                                      <p:tavLst>
                                        <p:tav tm="0">
                                          <p:val>
                                            <p:strVal val="#ppt_y+.1"/>
                                          </p:val>
                                        </p:tav>
                                        <p:tav tm="100000">
                                          <p:val>
                                            <p:strVal val="#ppt_y"/>
                                          </p:val>
                                        </p:tav>
                                      </p:tavLst>
                                    </p:anim>
                                  </p:childTnLst>
                                </p:cTn>
                              </p:par>
                              <p:par>
                                <p:cTn id="225" presetID="42" presetClass="entr" presetSubtype="0" fill="hold" grpId="0" nodeType="withEffect">
                                  <p:stCondLst>
                                    <p:cond delay="0"/>
                                  </p:stCondLst>
                                  <p:childTnLst>
                                    <p:set>
                                      <p:cBhvr>
                                        <p:cTn id="226" dur="1" fill="hold">
                                          <p:stCondLst>
                                            <p:cond delay="0"/>
                                          </p:stCondLst>
                                        </p:cTn>
                                        <p:tgtEl>
                                          <p:spTgt spid="96"/>
                                        </p:tgtEl>
                                        <p:attrNameLst>
                                          <p:attrName>style.visibility</p:attrName>
                                        </p:attrNameLst>
                                      </p:cBhvr>
                                      <p:to>
                                        <p:strVal val="visible"/>
                                      </p:to>
                                    </p:set>
                                    <p:animEffect transition="in" filter="fade">
                                      <p:cBhvr>
                                        <p:cTn id="227" dur="1000"/>
                                        <p:tgtEl>
                                          <p:spTgt spid="96"/>
                                        </p:tgtEl>
                                      </p:cBhvr>
                                    </p:animEffect>
                                    <p:anim calcmode="lin" valueType="num">
                                      <p:cBhvr>
                                        <p:cTn id="228" dur="1000" fill="hold"/>
                                        <p:tgtEl>
                                          <p:spTgt spid="96"/>
                                        </p:tgtEl>
                                        <p:attrNameLst>
                                          <p:attrName>ppt_x</p:attrName>
                                        </p:attrNameLst>
                                      </p:cBhvr>
                                      <p:tavLst>
                                        <p:tav tm="0">
                                          <p:val>
                                            <p:strVal val="#ppt_x"/>
                                          </p:val>
                                        </p:tav>
                                        <p:tav tm="100000">
                                          <p:val>
                                            <p:strVal val="#ppt_x"/>
                                          </p:val>
                                        </p:tav>
                                      </p:tavLst>
                                    </p:anim>
                                    <p:anim calcmode="lin" valueType="num">
                                      <p:cBhvr>
                                        <p:cTn id="229" dur="1000" fill="hold"/>
                                        <p:tgtEl>
                                          <p:spTgt spid="96"/>
                                        </p:tgtEl>
                                        <p:attrNameLst>
                                          <p:attrName>ppt_y</p:attrName>
                                        </p:attrNameLst>
                                      </p:cBhvr>
                                      <p:tavLst>
                                        <p:tav tm="0">
                                          <p:val>
                                            <p:strVal val="#ppt_y+.1"/>
                                          </p:val>
                                        </p:tav>
                                        <p:tav tm="100000">
                                          <p:val>
                                            <p:strVal val="#ppt_y"/>
                                          </p:val>
                                        </p:tav>
                                      </p:tavLst>
                                    </p:anim>
                                  </p:childTnLst>
                                </p:cTn>
                              </p:par>
                              <p:par>
                                <p:cTn id="230" presetID="42" presetClass="entr" presetSubtype="0" fill="hold" grpId="0" nodeType="withEffect">
                                  <p:stCondLst>
                                    <p:cond delay="0"/>
                                  </p:stCondLst>
                                  <p:childTnLst>
                                    <p:set>
                                      <p:cBhvr>
                                        <p:cTn id="231" dur="1" fill="hold">
                                          <p:stCondLst>
                                            <p:cond delay="0"/>
                                          </p:stCondLst>
                                        </p:cTn>
                                        <p:tgtEl>
                                          <p:spTgt spid="97"/>
                                        </p:tgtEl>
                                        <p:attrNameLst>
                                          <p:attrName>style.visibility</p:attrName>
                                        </p:attrNameLst>
                                      </p:cBhvr>
                                      <p:to>
                                        <p:strVal val="visible"/>
                                      </p:to>
                                    </p:set>
                                    <p:animEffect transition="in" filter="fade">
                                      <p:cBhvr>
                                        <p:cTn id="232" dur="1000"/>
                                        <p:tgtEl>
                                          <p:spTgt spid="97"/>
                                        </p:tgtEl>
                                      </p:cBhvr>
                                    </p:animEffect>
                                    <p:anim calcmode="lin" valueType="num">
                                      <p:cBhvr>
                                        <p:cTn id="233" dur="1000" fill="hold"/>
                                        <p:tgtEl>
                                          <p:spTgt spid="97"/>
                                        </p:tgtEl>
                                        <p:attrNameLst>
                                          <p:attrName>ppt_x</p:attrName>
                                        </p:attrNameLst>
                                      </p:cBhvr>
                                      <p:tavLst>
                                        <p:tav tm="0">
                                          <p:val>
                                            <p:strVal val="#ppt_x"/>
                                          </p:val>
                                        </p:tav>
                                        <p:tav tm="100000">
                                          <p:val>
                                            <p:strVal val="#ppt_x"/>
                                          </p:val>
                                        </p:tav>
                                      </p:tavLst>
                                    </p:anim>
                                    <p:anim calcmode="lin" valueType="num">
                                      <p:cBhvr>
                                        <p:cTn id="234" dur="1000" fill="hold"/>
                                        <p:tgtEl>
                                          <p:spTgt spid="97"/>
                                        </p:tgtEl>
                                        <p:attrNameLst>
                                          <p:attrName>ppt_y</p:attrName>
                                        </p:attrNameLst>
                                      </p:cBhvr>
                                      <p:tavLst>
                                        <p:tav tm="0">
                                          <p:val>
                                            <p:strVal val="#ppt_y+.1"/>
                                          </p:val>
                                        </p:tav>
                                        <p:tav tm="100000">
                                          <p:val>
                                            <p:strVal val="#ppt_y"/>
                                          </p:val>
                                        </p:tav>
                                      </p:tavLst>
                                    </p:anim>
                                  </p:childTnLst>
                                </p:cTn>
                              </p:par>
                              <p:par>
                                <p:cTn id="235" presetID="42" presetClass="entr" presetSubtype="0" fill="hold" grpId="0" nodeType="withEffect">
                                  <p:stCondLst>
                                    <p:cond delay="0"/>
                                  </p:stCondLst>
                                  <p:childTnLst>
                                    <p:set>
                                      <p:cBhvr>
                                        <p:cTn id="236" dur="1" fill="hold">
                                          <p:stCondLst>
                                            <p:cond delay="0"/>
                                          </p:stCondLst>
                                        </p:cTn>
                                        <p:tgtEl>
                                          <p:spTgt spid="98"/>
                                        </p:tgtEl>
                                        <p:attrNameLst>
                                          <p:attrName>style.visibility</p:attrName>
                                        </p:attrNameLst>
                                      </p:cBhvr>
                                      <p:to>
                                        <p:strVal val="visible"/>
                                      </p:to>
                                    </p:set>
                                    <p:animEffect transition="in" filter="fade">
                                      <p:cBhvr>
                                        <p:cTn id="237" dur="1000"/>
                                        <p:tgtEl>
                                          <p:spTgt spid="98"/>
                                        </p:tgtEl>
                                      </p:cBhvr>
                                    </p:animEffect>
                                    <p:anim calcmode="lin" valueType="num">
                                      <p:cBhvr>
                                        <p:cTn id="238" dur="1000" fill="hold"/>
                                        <p:tgtEl>
                                          <p:spTgt spid="98"/>
                                        </p:tgtEl>
                                        <p:attrNameLst>
                                          <p:attrName>ppt_x</p:attrName>
                                        </p:attrNameLst>
                                      </p:cBhvr>
                                      <p:tavLst>
                                        <p:tav tm="0">
                                          <p:val>
                                            <p:strVal val="#ppt_x"/>
                                          </p:val>
                                        </p:tav>
                                        <p:tav tm="100000">
                                          <p:val>
                                            <p:strVal val="#ppt_x"/>
                                          </p:val>
                                        </p:tav>
                                      </p:tavLst>
                                    </p:anim>
                                    <p:anim calcmode="lin" valueType="num">
                                      <p:cBhvr>
                                        <p:cTn id="239" dur="1000" fill="hold"/>
                                        <p:tgtEl>
                                          <p:spTgt spid="98"/>
                                        </p:tgtEl>
                                        <p:attrNameLst>
                                          <p:attrName>ppt_y</p:attrName>
                                        </p:attrNameLst>
                                      </p:cBhvr>
                                      <p:tavLst>
                                        <p:tav tm="0">
                                          <p:val>
                                            <p:strVal val="#ppt_y+.1"/>
                                          </p:val>
                                        </p:tav>
                                        <p:tav tm="100000">
                                          <p:val>
                                            <p:strVal val="#ppt_y"/>
                                          </p:val>
                                        </p:tav>
                                      </p:tavLst>
                                    </p:anim>
                                  </p:childTnLst>
                                </p:cTn>
                              </p:par>
                              <p:par>
                                <p:cTn id="240" presetID="42" presetClass="entr" presetSubtype="0" fill="hold" grpId="0" nodeType="withEffect">
                                  <p:stCondLst>
                                    <p:cond delay="0"/>
                                  </p:stCondLst>
                                  <p:childTnLst>
                                    <p:set>
                                      <p:cBhvr>
                                        <p:cTn id="241" dur="1" fill="hold">
                                          <p:stCondLst>
                                            <p:cond delay="0"/>
                                          </p:stCondLst>
                                        </p:cTn>
                                        <p:tgtEl>
                                          <p:spTgt spid="99"/>
                                        </p:tgtEl>
                                        <p:attrNameLst>
                                          <p:attrName>style.visibility</p:attrName>
                                        </p:attrNameLst>
                                      </p:cBhvr>
                                      <p:to>
                                        <p:strVal val="visible"/>
                                      </p:to>
                                    </p:set>
                                    <p:animEffect transition="in" filter="fade">
                                      <p:cBhvr>
                                        <p:cTn id="242" dur="1000"/>
                                        <p:tgtEl>
                                          <p:spTgt spid="99"/>
                                        </p:tgtEl>
                                      </p:cBhvr>
                                    </p:animEffect>
                                    <p:anim calcmode="lin" valueType="num">
                                      <p:cBhvr>
                                        <p:cTn id="243" dur="1000" fill="hold"/>
                                        <p:tgtEl>
                                          <p:spTgt spid="99"/>
                                        </p:tgtEl>
                                        <p:attrNameLst>
                                          <p:attrName>ppt_x</p:attrName>
                                        </p:attrNameLst>
                                      </p:cBhvr>
                                      <p:tavLst>
                                        <p:tav tm="0">
                                          <p:val>
                                            <p:strVal val="#ppt_x"/>
                                          </p:val>
                                        </p:tav>
                                        <p:tav tm="100000">
                                          <p:val>
                                            <p:strVal val="#ppt_x"/>
                                          </p:val>
                                        </p:tav>
                                      </p:tavLst>
                                    </p:anim>
                                    <p:anim calcmode="lin" valueType="num">
                                      <p:cBhvr>
                                        <p:cTn id="244" dur="1000" fill="hold"/>
                                        <p:tgtEl>
                                          <p:spTgt spid="99"/>
                                        </p:tgtEl>
                                        <p:attrNameLst>
                                          <p:attrName>ppt_y</p:attrName>
                                        </p:attrNameLst>
                                      </p:cBhvr>
                                      <p:tavLst>
                                        <p:tav tm="0">
                                          <p:val>
                                            <p:strVal val="#ppt_y+.1"/>
                                          </p:val>
                                        </p:tav>
                                        <p:tav tm="100000">
                                          <p:val>
                                            <p:strVal val="#ppt_y"/>
                                          </p:val>
                                        </p:tav>
                                      </p:tavLst>
                                    </p:anim>
                                  </p:childTnLst>
                                </p:cTn>
                              </p:par>
                              <p:par>
                                <p:cTn id="245" presetID="42" presetClass="entr" presetSubtype="0" fill="hold" grpId="0" nodeType="withEffect">
                                  <p:stCondLst>
                                    <p:cond delay="0"/>
                                  </p:stCondLst>
                                  <p:childTnLst>
                                    <p:set>
                                      <p:cBhvr>
                                        <p:cTn id="246" dur="1" fill="hold">
                                          <p:stCondLst>
                                            <p:cond delay="0"/>
                                          </p:stCondLst>
                                        </p:cTn>
                                        <p:tgtEl>
                                          <p:spTgt spid="100"/>
                                        </p:tgtEl>
                                        <p:attrNameLst>
                                          <p:attrName>style.visibility</p:attrName>
                                        </p:attrNameLst>
                                      </p:cBhvr>
                                      <p:to>
                                        <p:strVal val="visible"/>
                                      </p:to>
                                    </p:set>
                                    <p:animEffect transition="in" filter="fade">
                                      <p:cBhvr>
                                        <p:cTn id="247" dur="1000"/>
                                        <p:tgtEl>
                                          <p:spTgt spid="100"/>
                                        </p:tgtEl>
                                      </p:cBhvr>
                                    </p:animEffect>
                                    <p:anim calcmode="lin" valueType="num">
                                      <p:cBhvr>
                                        <p:cTn id="248" dur="1000" fill="hold"/>
                                        <p:tgtEl>
                                          <p:spTgt spid="100"/>
                                        </p:tgtEl>
                                        <p:attrNameLst>
                                          <p:attrName>ppt_x</p:attrName>
                                        </p:attrNameLst>
                                      </p:cBhvr>
                                      <p:tavLst>
                                        <p:tav tm="0">
                                          <p:val>
                                            <p:strVal val="#ppt_x"/>
                                          </p:val>
                                        </p:tav>
                                        <p:tav tm="100000">
                                          <p:val>
                                            <p:strVal val="#ppt_x"/>
                                          </p:val>
                                        </p:tav>
                                      </p:tavLst>
                                    </p:anim>
                                    <p:anim calcmode="lin" valueType="num">
                                      <p:cBhvr>
                                        <p:cTn id="249" dur="1000" fill="hold"/>
                                        <p:tgtEl>
                                          <p:spTgt spid="100"/>
                                        </p:tgtEl>
                                        <p:attrNameLst>
                                          <p:attrName>ppt_y</p:attrName>
                                        </p:attrNameLst>
                                      </p:cBhvr>
                                      <p:tavLst>
                                        <p:tav tm="0">
                                          <p:val>
                                            <p:strVal val="#ppt_y+.1"/>
                                          </p:val>
                                        </p:tav>
                                        <p:tav tm="100000">
                                          <p:val>
                                            <p:strVal val="#ppt_y"/>
                                          </p:val>
                                        </p:tav>
                                      </p:tavLst>
                                    </p:anim>
                                  </p:childTnLst>
                                </p:cTn>
                              </p:par>
                              <p:par>
                                <p:cTn id="250" presetID="42" presetClass="entr" presetSubtype="0" fill="hold" grpId="0" nodeType="withEffect">
                                  <p:stCondLst>
                                    <p:cond delay="0"/>
                                  </p:stCondLst>
                                  <p:childTnLst>
                                    <p:set>
                                      <p:cBhvr>
                                        <p:cTn id="251" dur="1" fill="hold">
                                          <p:stCondLst>
                                            <p:cond delay="0"/>
                                          </p:stCondLst>
                                        </p:cTn>
                                        <p:tgtEl>
                                          <p:spTgt spid="105"/>
                                        </p:tgtEl>
                                        <p:attrNameLst>
                                          <p:attrName>style.visibility</p:attrName>
                                        </p:attrNameLst>
                                      </p:cBhvr>
                                      <p:to>
                                        <p:strVal val="visible"/>
                                      </p:to>
                                    </p:set>
                                    <p:animEffect transition="in" filter="fade">
                                      <p:cBhvr>
                                        <p:cTn id="252" dur="1000"/>
                                        <p:tgtEl>
                                          <p:spTgt spid="105"/>
                                        </p:tgtEl>
                                      </p:cBhvr>
                                    </p:animEffect>
                                    <p:anim calcmode="lin" valueType="num">
                                      <p:cBhvr>
                                        <p:cTn id="253" dur="1000" fill="hold"/>
                                        <p:tgtEl>
                                          <p:spTgt spid="105"/>
                                        </p:tgtEl>
                                        <p:attrNameLst>
                                          <p:attrName>ppt_x</p:attrName>
                                        </p:attrNameLst>
                                      </p:cBhvr>
                                      <p:tavLst>
                                        <p:tav tm="0">
                                          <p:val>
                                            <p:strVal val="#ppt_x"/>
                                          </p:val>
                                        </p:tav>
                                        <p:tav tm="100000">
                                          <p:val>
                                            <p:strVal val="#ppt_x"/>
                                          </p:val>
                                        </p:tav>
                                      </p:tavLst>
                                    </p:anim>
                                    <p:anim calcmode="lin" valueType="num">
                                      <p:cBhvr>
                                        <p:cTn id="254" dur="1000" fill="hold"/>
                                        <p:tgtEl>
                                          <p:spTgt spid="105"/>
                                        </p:tgtEl>
                                        <p:attrNameLst>
                                          <p:attrName>ppt_y</p:attrName>
                                        </p:attrNameLst>
                                      </p:cBhvr>
                                      <p:tavLst>
                                        <p:tav tm="0">
                                          <p:val>
                                            <p:strVal val="#ppt_y+.1"/>
                                          </p:val>
                                        </p:tav>
                                        <p:tav tm="100000">
                                          <p:val>
                                            <p:strVal val="#ppt_y"/>
                                          </p:val>
                                        </p:tav>
                                      </p:tavLst>
                                    </p:anim>
                                  </p:childTnLst>
                                </p:cTn>
                              </p:par>
                              <p:par>
                                <p:cTn id="255" presetID="47" presetClass="entr" presetSubtype="0" fill="hold" grpId="0" nodeType="withEffect">
                                  <p:stCondLst>
                                    <p:cond delay="0"/>
                                  </p:stCondLst>
                                  <p:childTnLst>
                                    <p:set>
                                      <p:cBhvr>
                                        <p:cTn id="256" dur="1" fill="hold">
                                          <p:stCondLst>
                                            <p:cond delay="0"/>
                                          </p:stCondLst>
                                        </p:cTn>
                                        <p:tgtEl>
                                          <p:spTgt spid="106"/>
                                        </p:tgtEl>
                                        <p:attrNameLst>
                                          <p:attrName>style.visibility</p:attrName>
                                        </p:attrNameLst>
                                      </p:cBhvr>
                                      <p:to>
                                        <p:strVal val="visible"/>
                                      </p:to>
                                    </p:set>
                                    <p:animEffect transition="in" filter="fade">
                                      <p:cBhvr>
                                        <p:cTn id="257" dur="1000"/>
                                        <p:tgtEl>
                                          <p:spTgt spid="106"/>
                                        </p:tgtEl>
                                      </p:cBhvr>
                                    </p:animEffect>
                                    <p:anim calcmode="lin" valueType="num">
                                      <p:cBhvr>
                                        <p:cTn id="258" dur="1000" fill="hold"/>
                                        <p:tgtEl>
                                          <p:spTgt spid="106"/>
                                        </p:tgtEl>
                                        <p:attrNameLst>
                                          <p:attrName>ppt_x</p:attrName>
                                        </p:attrNameLst>
                                      </p:cBhvr>
                                      <p:tavLst>
                                        <p:tav tm="0">
                                          <p:val>
                                            <p:strVal val="#ppt_x"/>
                                          </p:val>
                                        </p:tav>
                                        <p:tav tm="100000">
                                          <p:val>
                                            <p:strVal val="#ppt_x"/>
                                          </p:val>
                                        </p:tav>
                                      </p:tavLst>
                                    </p:anim>
                                    <p:anim calcmode="lin" valueType="num">
                                      <p:cBhvr>
                                        <p:cTn id="259" dur="1000" fill="hold"/>
                                        <p:tgtEl>
                                          <p:spTgt spid="106"/>
                                        </p:tgtEl>
                                        <p:attrNameLst>
                                          <p:attrName>ppt_y</p:attrName>
                                        </p:attrNameLst>
                                      </p:cBhvr>
                                      <p:tavLst>
                                        <p:tav tm="0">
                                          <p:val>
                                            <p:strVal val="#ppt_y-.1"/>
                                          </p:val>
                                        </p:tav>
                                        <p:tav tm="100000">
                                          <p:val>
                                            <p:strVal val="#ppt_y"/>
                                          </p:val>
                                        </p:tav>
                                      </p:tavLst>
                                    </p:anim>
                                  </p:childTnLst>
                                </p:cTn>
                              </p:par>
                              <p:par>
                                <p:cTn id="260" presetID="47" presetClass="entr" presetSubtype="0" fill="hold" grpId="0" nodeType="withEffect">
                                  <p:stCondLst>
                                    <p:cond delay="0"/>
                                  </p:stCondLst>
                                  <p:childTnLst>
                                    <p:set>
                                      <p:cBhvr>
                                        <p:cTn id="261" dur="1" fill="hold">
                                          <p:stCondLst>
                                            <p:cond delay="0"/>
                                          </p:stCondLst>
                                        </p:cTn>
                                        <p:tgtEl>
                                          <p:spTgt spid="101"/>
                                        </p:tgtEl>
                                        <p:attrNameLst>
                                          <p:attrName>style.visibility</p:attrName>
                                        </p:attrNameLst>
                                      </p:cBhvr>
                                      <p:to>
                                        <p:strVal val="visible"/>
                                      </p:to>
                                    </p:set>
                                    <p:animEffect transition="in" filter="fade">
                                      <p:cBhvr>
                                        <p:cTn id="262" dur="1000"/>
                                        <p:tgtEl>
                                          <p:spTgt spid="101"/>
                                        </p:tgtEl>
                                      </p:cBhvr>
                                    </p:animEffect>
                                    <p:anim calcmode="lin" valueType="num">
                                      <p:cBhvr>
                                        <p:cTn id="263" dur="1000" fill="hold"/>
                                        <p:tgtEl>
                                          <p:spTgt spid="101"/>
                                        </p:tgtEl>
                                        <p:attrNameLst>
                                          <p:attrName>ppt_x</p:attrName>
                                        </p:attrNameLst>
                                      </p:cBhvr>
                                      <p:tavLst>
                                        <p:tav tm="0">
                                          <p:val>
                                            <p:strVal val="#ppt_x"/>
                                          </p:val>
                                        </p:tav>
                                        <p:tav tm="100000">
                                          <p:val>
                                            <p:strVal val="#ppt_x"/>
                                          </p:val>
                                        </p:tav>
                                      </p:tavLst>
                                    </p:anim>
                                    <p:anim calcmode="lin" valueType="num">
                                      <p:cBhvr>
                                        <p:cTn id="264" dur="1000" fill="hold"/>
                                        <p:tgtEl>
                                          <p:spTgt spid="101"/>
                                        </p:tgtEl>
                                        <p:attrNameLst>
                                          <p:attrName>ppt_y</p:attrName>
                                        </p:attrNameLst>
                                      </p:cBhvr>
                                      <p:tavLst>
                                        <p:tav tm="0">
                                          <p:val>
                                            <p:strVal val="#ppt_y-.1"/>
                                          </p:val>
                                        </p:tav>
                                        <p:tav tm="100000">
                                          <p:val>
                                            <p:strVal val="#ppt_y"/>
                                          </p:val>
                                        </p:tav>
                                      </p:tavLst>
                                    </p:anim>
                                  </p:childTnLst>
                                </p:cTn>
                              </p:par>
                              <p:par>
                                <p:cTn id="265" presetID="47" presetClass="entr" presetSubtype="0" fill="hold" grpId="0" nodeType="withEffect">
                                  <p:stCondLst>
                                    <p:cond delay="0"/>
                                  </p:stCondLst>
                                  <p:childTnLst>
                                    <p:set>
                                      <p:cBhvr>
                                        <p:cTn id="266" dur="1" fill="hold">
                                          <p:stCondLst>
                                            <p:cond delay="0"/>
                                          </p:stCondLst>
                                        </p:cTn>
                                        <p:tgtEl>
                                          <p:spTgt spid="102"/>
                                        </p:tgtEl>
                                        <p:attrNameLst>
                                          <p:attrName>style.visibility</p:attrName>
                                        </p:attrNameLst>
                                      </p:cBhvr>
                                      <p:to>
                                        <p:strVal val="visible"/>
                                      </p:to>
                                    </p:set>
                                    <p:animEffect transition="in" filter="fade">
                                      <p:cBhvr>
                                        <p:cTn id="267" dur="1000"/>
                                        <p:tgtEl>
                                          <p:spTgt spid="102"/>
                                        </p:tgtEl>
                                      </p:cBhvr>
                                    </p:animEffect>
                                    <p:anim calcmode="lin" valueType="num">
                                      <p:cBhvr>
                                        <p:cTn id="268" dur="1000" fill="hold"/>
                                        <p:tgtEl>
                                          <p:spTgt spid="102"/>
                                        </p:tgtEl>
                                        <p:attrNameLst>
                                          <p:attrName>ppt_x</p:attrName>
                                        </p:attrNameLst>
                                      </p:cBhvr>
                                      <p:tavLst>
                                        <p:tav tm="0">
                                          <p:val>
                                            <p:strVal val="#ppt_x"/>
                                          </p:val>
                                        </p:tav>
                                        <p:tav tm="100000">
                                          <p:val>
                                            <p:strVal val="#ppt_x"/>
                                          </p:val>
                                        </p:tav>
                                      </p:tavLst>
                                    </p:anim>
                                    <p:anim calcmode="lin" valueType="num">
                                      <p:cBhvr>
                                        <p:cTn id="269" dur="1000" fill="hold"/>
                                        <p:tgtEl>
                                          <p:spTgt spid="102"/>
                                        </p:tgtEl>
                                        <p:attrNameLst>
                                          <p:attrName>ppt_y</p:attrName>
                                        </p:attrNameLst>
                                      </p:cBhvr>
                                      <p:tavLst>
                                        <p:tav tm="0">
                                          <p:val>
                                            <p:strVal val="#ppt_y-.1"/>
                                          </p:val>
                                        </p:tav>
                                        <p:tav tm="100000">
                                          <p:val>
                                            <p:strVal val="#ppt_y"/>
                                          </p:val>
                                        </p:tav>
                                      </p:tavLst>
                                    </p:anim>
                                  </p:childTnLst>
                                </p:cTn>
                              </p:par>
                              <p:par>
                                <p:cTn id="270" presetID="47" presetClass="entr" presetSubtype="0" fill="hold" grpId="0" nodeType="withEffect">
                                  <p:stCondLst>
                                    <p:cond delay="0"/>
                                  </p:stCondLst>
                                  <p:childTnLst>
                                    <p:set>
                                      <p:cBhvr>
                                        <p:cTn id="271" dur="1" fill="hold">
                                          <p:stCondLst>
                                            <p:cond delay="0"/>
                                          </p:stCondLst>
                                        </p:cTn>
                                        <p:tgtEl>
                                          <p:spTgt spid="103"/>
                                        </p:tgtEl>
                                        <p:attrNameLst>
                                          <p:attrName>style.visibility</p:attrName>
                                        </p:attrNameLst>
                                      </p:cBhvr>
                                      <p:to>
                                        <p:strVal val="visible"/>
                                      </p:to>
                                    </p:set>
                                    <p:animEffect transition="in" filter="fade">
                                      <p:cBhvr>
                                        <p:cTn id="272" dur="1000"/>
                                        <p:tgtEl>
                                          <p:spTgt spid="103"/>
                                        </p:tgtEl>
                                      </p:cBhvr>
                                    </p:animEffect>
                                    <p:anim calcmode="lin" valueType="num">
                                      <p:cBhvr>
                                        <p:cTn id="273" dur="1000" fill="hold"/>
                                        <p:tgtEl>
                                          <p:spTgt spid="103"/>
                                        </p:tgtEl>
                                        <p:attrNameLst>
                                          <p:attrName>ppt_x</p:attrName>
                                        </p:attrNameLst>
                                      </p:cBhvr>
                                      <p:tavLst>
                                        <p:tav tm="0">
                                          <p:val>
                                            <p:strVal val="#ppt_x"/>
                                          </p:val>
                                        </p:tav>
                                        <p:tav tm="100000">
                                          <p:val>
                                            <p:strVal val="#ppt_x"/>
                                          </p:val>
                                        </p:tav>
                                      </p:tavLst>
                                    </p:anim>
                                    <p:anim calcmode="lin" valueType="num">
                                      <p:cBhvr>
                                        <p:cTn id="274" dur="1000" fill="hold"/>
                                        <p:tgtEl>
                                          <p:spTgt spid="103"/>
                                        </p:tgtEl>
                                        <p:attrNameLst>
                                          <p:attrName>ppt_y</p:attrName>
                                        </p:attrNameLst>
                                      </p:cBhvr>
                                      <p:tavLst>
                                        <p:tav tm="0">
                                          <p:val>
                                            <p:strVal val="#ppt_y-.1"/>
                                          </p:val>
                                        </p:tav>
                                        <p:tav tm="100000">
                                          <p:val>
                                            <p:strVal val="#ppt_y"/>
                                          </p:val>
                                        </p:tav>
                                      </p:tavLst>
                                    </p:anim>
                                  </p:childTnLst>
                                </p:cTn>
                              </p:par>
                              <p:par>
                                <p:cTn id="275" presetID="47" presetClass="entr" presetSubtype="0" fill="hold" grpId="0" nodeType="withEffect">
                                  <p:stCondLst>
                                    <p:cond delay="0"/>
                                  </p:stCondLst>
                                  <p:childTnLst>
                                    <p:set>
                                      <p:cBhvr>
                                        <p:cTn id="276" dur="1" fill="hold">
                                          <p:stCondLst>
                                            <p:cond delay="0"/>
                                          </p:stCondLst>
                                        </p:cTn>
                                        <p:tgtEl>
                                          <p:spTgt spid="104"/>
                                        </p:tgtEl>
                                        <p:attrNameLst>
                                          <p:attrName>style.visibility</p:attrName>
                                        </p:attrNameLst>
                                      </p:cBhvr>
                                      <p:to>
                                        <p:strVal val="visible"/>
                                      </p:to>
                                    </p:set>
                                    <p:animEffect transition="in" filter="fade">
                                      <p:cBhvr>
                                        <p:cTn id="277" dur="1000"/>
                                        <p:tgtEl>
                                          <p:spTgt spid="104"/>
                                        </p:tgtEl>
                                      </p:cBhvr>
                                    </p:animEffect>
                                    <p:anim calcmode="lin" valueType="num">
                                      <p:cBhvr>
                                        <p:cTn id="278" dur="1000" fill="hold"/>
                                        <p:tgtEl>
                                          <p:spTgt spid="104"/>
                                        </p:tgtEl>
                                        <p:attrNameLst>
                                          <p:attrName>ppt_x</p:attrName>
                                        </p:attrNameLst>
                                      </p:cBhvr>
                                      <p:tavLst>
                                        <p:tav tm="0">
                                          <p:val>
                                            <p:strVal val="#ppt_x"/>
                                          </p:val>
                                        </p:tav>
                                        <p:tav tm="100000">
                                          <p:val>
                                            <p:strVal val="#ppt_x"/>
                                          </p:val>
                                        </p:tav>
                                      </p:tavLst>
                                    </p:anim>
                                    <p:anim calcmode="lin" valueType="num">
                                      <p:cBhvr>
                                        <p:cTn id="279" dur="1000" fill="hold"/>
                                        <p:tgtEl>
                                          <p:spTgt spid="104"/>
                                        </p:tgtEl>
                                        <p:attrNameLst>
                                          <p:attrName>ppt_y</p:attrName>
                                        </p:attrNameLst>
                                      </p:cBhvr>
                                      <p:tavLst>
                                        <p:tav tm="0">
                                          <p:val>
                                            <p:strVal val="#ppt_y-.1"/>
                                          </p:val>
                                        </p:tav>
                                        <p:tav tm="100000">
                                          <p:val>
                                            <p:strVal val="#ppt_y"/>
                                          </p:val>
                                        </p:tav>
                                      </p:tavLst>
                                    </p:anim>
                                  </p:childTnLst>
                                </p:cTn>
                              </p:par>
                              <p:par>
                                <p:cTn id="280" presetID="42" presetClass="entr" presetSubtype="0" fill="hold" grpId="0" nodeType="withEffect">
                                  <p:stCondLst>
                                    <p:cond delay="0"/>
                                  </p:stCondLst>
                                  <p:childTnLst>
                                    <p:set>
                                      <p:cBhvr>
                                        <p:cTn id="281" dur="1" fill="hold">
                                          <p:stCondLst>
                                            <p:cond delay="0"/>
                                          </p:stCondLst>
                                        </p:cTn>
                                        <p:tgtEl>
                                          <p:spTgt spid="108"/>
                                        </p:tgtEl>
                                        <p:attrNameLst>
                                          <p:attrName>style.visibility</p:attrName>
                                        </p:attrNameLst>
                                      </p:cBhvr>
                                      <p:to>
                                        <p:strVal val="visible"/>
                                      </p:to>
                                    </p:set>
                                    <p:animEffect transition="in" filter="fade">
                                      <p:cBhvr>
                                        <p:cTn id="282" dur="1000"/>
                                        <p:tgtEl>
                                          <p:spTgt spid="108"/>
                                        </p:tgtEl>
                                      </p:cBhvr>
                                    </p:animEffect>
                                    <p:anim calcmode="lin" valueType="num">
                                      <p:cBhvr>
                                        <p:cTn id="283" dur="1000" fill="hold"/>
                                        <p:tgtEl>
                                          <p:spTgt spid="108"/>
                                        </p:tgtEl>
                                        <p:attrNameLst>
                                          <p:attrName>ppt_x</p:attrName>
                                        </p:attrNameLst>
                                      </p:cBhvr>
                                      <p:tavLst>
                                        <p:tav tm="0">
                                          <p:val>
                                            <p:strVal val="#ppt_x"/>
                                          </p:val>
                                        </p:tav>
                                        <p:tav tm="100000">
                                          <p:val>
                                            <p:strVal val="#ppt_x"/>
                                          </p:val>
                                        </p:tav>
                                      </p:tavLst>
                                    </p:anim>
                                    <p:anim calcmode="lin" valueType="num">
                                      <p:cBhvr>
                                        <p:cTn id="284" dur="1000" fill="hold"/>
                                        <p:tgtEl>
                                          <p:spTgt spid="108"/>
                                        </p:tgtEl>
                                        <p:attrNameLst>
                                          <p:attrName>ppt_y</p:attrName>
                                        </p:attrNameLst>
                                      </p:cBhvr>
                                      <p:tavLst>
                                        <p:tav tm="0">
                                          <p:val>
                                            <p:strVal val="#ppt_y+.1"/>
                                          </p:val>
                                        </p:tav>
                                        <p:tav tm="100000">
                                          <p:val>
                                            <p:strVal val="#ppt_y"/>
                                          </p:val>
                                        </p:tav>
                                      </p:tavLst>
                                    </p:anim>
                                  </p:childTnLst>
                                </p:cTn>
                              </p:par>
                              <p:par>
                                <p:cTn id="285" presetID="42" presetClass="entr" presetSubtype="0" fill="hold" grpId="0" nodeType="withEffect">
                                  <p:stCondLst>
                                    <p:cond delay="0"/>
                                  </p:stCondLst>
                                  <p:childTnLst>
                                    <p:set>
                                      <p:cBhvr>
                                        <p:cTn id="286" dur="1" fill="hold">
                                          <p:stCondLst>
                                            <p:cond delay="0"/>
                                          </p:stCondLst>
                                        </p:cTn>
                                        <p:tgtEl>
                                          <p:spTgt spid="109"/>
                                        </p:tgtEl>
                                        <p:attrNameLst>
                                          <p:attrName>style.visibility</p:attrName>
                                        </p:attrNameLst>
                                      </p:cBhvr>
                                      <p:to>
                                        <p:strVal val="visible"/>
                                      </p:to>
                                    </p:set>
                                    <p:animEffect transition="in" filter="fade">
                                      <p:cBhvr>
                                        <p:cTn id="287" dur="1000"/>
                                        <p:tgtEl>
                                          <p:spTgt spid="109"/>
                                        </p:tgtEl>
                                      </p:cBhvr>
                                    </p:animEffect>
                                    <p:anim calcmode="lin" valueType="num">
                                      <p:cBhvr>
                                        <p:cTn id="288" dur="1000" fill="hold"/>
                                        <p:tgtEl>
                                          <p:spTgt spid="109"/>
                                        </p:tgtEl>
                                        <p:attrNameLst>
                                          <p:attrName>ppt_x</p:attrName>
                                        </p:attrNameLst>
                                      </p:cBhvr>
                                      <p:tavLst>
                                        <p:tav tm="0">
                                          <p:val>
                                            <p:strVal val="#ppt_x"/>
                                          </p:val>
                                        </p:tav>
                                        <p:tav tm="100000">
                                          <p:val>
                                            <p:strVal val="#ppt_x"/>
                                          </p:val>
                                        </p:tav>
                                      </p:tavLst>
                                    </p:anim>
                                    <p:anim calcmode="lin" valueType="num">
                                      <p:cBhvr>
                                        <p:cTn id="289" dur="1000" fill="hold"/>
                                        <p:tgtEl>
                                          <p:spTgt spid="109"/>
                                        </p:tgtEl>
                                        <p:attrNameLst>
                                          <p:attrName>ppt_y</p:attrName>
                                        </p:attrNameLst>
                                      </p:cBhvr>
                                      <p:tavLst>
                                        <p:tav tm="0">
                                          <p:val>
                                            <p:strVal val="#ppt_y+.1"/>
                                          </p:val>
                                        </p:tav>
                                        <p:tav tm="100000">
                                          <p:val>
                                            <p:strVal val="#ppt_y"/>
                                          </p:val>
                                        </p:tav>
                                      </p:tavLst>
                                    </p:anim>
                                  </p:childTnLst>
                                </p:cTn>
                              </p:par>
                              <p:par>
                                <p:cTn id="290" presetID="42" presetClass="entr" presetSubtype="0" fill="hold" grpId="0" nodeType="withEffect">
                                  <p:stCondLst>
                                    <p:cond delay="0"/>
                                  </p:stCondLst>
                                  <p:childTnLst>
                                    <p:set>
                                      <p:cBhvr>
                                        <p:cTn id="291" dur="1" fill="hold">
                                          <p:stCondLst>
                                            <p:cond delay="0"/>
                                          </p:stCondLst>
                                        </p:cTn>
                                        <p:tgtEl>
                                          <p:spTgt spid="110"/>
                                        </p:tgtEl>
                                        <p:attrNameLst>
                                          <p:attrName>style.visibility</p:attrName>
                                        </p:attrNameLst>
                                      </p:cBhvr>
                                      <p:to>
                                        <p:strVal val="visible"/>
                                      </p:to>
                                    </p:set>
                                    <p:animEffect transition="in" filter="fade">
                                      <p:cBhvr>
                                        <p:cTn id="292" dur="1000"/>
                                        <p:tgtEl>
                                          <p:spTgt spid="110"/>
                                        </p:tgtEl>
                                      </p:cBhvr>
                                    </p:animEffect>
                                    <p:anim calcmode="lin" valueType="num">
                                      <p:cBhvr>
                                        <p:cTn id="293" dur="1000" fill="hold"/>
                                        <p:tgtEl>
                                          <p:spTgt spid="110"/>
                                        </p:tgtEl>
                                        <p:attrNameLst>
                                          <p:attrName>ppt_x</p:attrName>
                                        </p:attrNameLst>
                                      </p:cBhvr>
                                      <p:tavLst>
                                        <p:tav tm="0">
                                          <p:val>
                                            <p:strVal val="#ppt_x"/>
                                          </p:val>
                                        </p:tav>
                                        <p:tav tm="100000">
                                          <p:val>
                                            <p:strVal val="#ppt_x"/>
                                          </p:val>
                                        </p:tav>
                                      </p:tavLst>
                                    </p:anim>
                                    <p:anim calcmode="lin" valueType="num">
                                      <p:cBhvr>
                                        <p:cTn id="294" dur="1000" fill="hold"/>
                                        <p:tgtEl>
                                          <p:spTgt spid="110"/>
                                        </p:tgtEl>
                                        <p:attrNameLst>
                                          <p:attrName>ppt_y</p:attrName>
                                        </p:attrNameLst>
                                      </p:cBhvr>
                                      <p:tavLst>
                                        <p:tav tm="0">
                                          <p:val>
                                            <p:strVal val="#ppt_y+.1"/>
                                          </p:val>
                                        </p:tav>
                                        <p:tav tm="100000">
                                          <p:val>
                                            <p:strVal val="#ppt_y"/>
                                          </p:val>
                                        </p:tav>
                                      </p:tavLst>
                                    </p:anim>
                                  </p:childTnLst>
                                </p:cTn>
                              </p:par>
                              <p:par>
                                <p:cTn id="295" presetID="42" presetClass="entr" presetSubtype="0" fill="hold" grpId="0" nodeType="withEffect">
                                  <p:stCondLst>
                                    <p:cond delay="0"/>
                                  </p:stCondLst>
                                  <p:childTnLst>
                                    <p:set>
                                      <p:cBhvr>
                                        <p:cTn id="296" dur="1" fill="hold">
                                          <p:stCondLst>
                                            <p:cond delay="0"/>
                                          </p:stCondLst>
                                        </p:cTn>
                                        <p:tgtEl>
                                          <p:spTgt spid="122"/>
                                        </p:tgtEl>
                                        <p:attrNameLst>
                                          <p:attrName>style.visibility</p:attrName>
                                        </p:attrNameLst>
                                      </p:cBhvr>
                                      <p:to>
                                        <p:strVal val="visible"/>
                                      </p:to>
                                    </p:set>
                                    <p:animEffect transition="in" filter="fade">
                                      <p:cBhvr>
                                        <p:cTn id="297" dur="1000"/>
                                        <p:tgtEl>
                                          <p:spTgt spid="122"/>
                                        </p:tgtEl>
                                      </p:cBhvr>
                                    </p:animEffect>
                                    <p:anim calcmode="lin" valueType="num">
                                      <p:cBhvr>
                                        <p:cTn id="298" dur="1000" fill="hold"/>
                                        <p:tgtEl>
                                          <p:spTgt spid="122"/>
                                        </p:tgtEl>
                                        <p:attrNameLst>
                                          <p:attrName>ppt_x</p:attrName>
                                        </p:attrNameLst>
                                      </p:cBhvr>
                                      <p:tavLst>
                                        <p:tav tm="0">
                                          <p:val>
                                            <p:strVal val="#ppt_x"/>
                                          </p:val>
                                        </p:tav>
                                        <p:tav tm="100000">
                                          <p:val>
                                            <p:strVal val="#ppt_x"/>
                                          </p:val>
                                        </p:tav>
                                      </p:tavLst>
                                    </p:anim>
                                    <p:anim calcmode="lin" valueType="num">
                                      <p:cBhvr>
                                        <p:cTn id="299" dur="1000" fill="hold"/>
                                        <p:tgtEl>
                                          <p:spTgt spid="122"/>
                                        </p:tgtEl>
                                        <p:attrNameLst>
                                          <p:attrName>ppt_y</p:attrName>
                                        </p:attrNameLst>
                                      </p:cBhvr>
                                      <p:tavLst>
                                        <p:tav tm="0">
                                          <p:val>
                                            <p:strVal val="#ppt_y+.1"/>
                                          </p:val>
                                        </p:tav>
                                        <p:tav tm="100000">
                                          <p:val>
                                            <p:strVal val="#ppt_y"/>
                                          </p:val>
                                        </p:tav>
                                      </p:tavLst>
                                    </p:anim>
                                  </p:childTnLst>
                                </p:cTn>
                              </p:par>
                              <p:par>
                                <p:cTn id="300" presetID="42" presetClass="entr" presetSubtype="0" fill="hold" grpId="0" nodeType="withEffect">
                                  <p:stCondLst>
                                    <p:cond delay="0"/>
                                  </p:stCondLst>
                                  <p:childTnLst>
                                    <p:set>
                                      <p:cBhvr>
                                        <p:cTn id="301" dur="1" fill="hold">
                                          <p:stCondLst>
                                            <p:cond delay="0"/>
                                          </p:stCondLst>
                                        </p:cTn>
                                        <p:tgtEl>
                                          <p:spTgt spid="123"/>
                                        </p:tgtEl>
                                        <p:attrNameLst>
                                          <p:attrName>style.visibility</p:attrName>
                                        </p:attrNameLst>
                                      </p:cBhvr>
                                      <p:to>
                                        <p:strVal val="visible"/>
                                      </p:to>
                                    </p:set>
                                    <p:animEffect transition="in" filter="fade">
                                      <p:cBhvr>
                                        <p:cTn id="302" dur="1000"/>
                                        <p:tgtEl>
                                          <p:spTgt spid="123"/>
                                        </p:tgtEl>
                                      </p:cBhvr>
                                    </p:animEffect>
                                    <p:anim calcmode="lin" valueType="num">
                                      <p:cBhvr>
                                        <p:cTn id="303" dur="1000" fill="hold"/>
                                        <p:tgtEl>
                                          <p:spTgt spid="123"/>
                                        </p:tgtEl>
                                        <p:attrNameLst>
                                          <p:attrName>ppt_x</p:attrName>
                                        </p:attrNameLst>
                                      </p:cBhvr>
                                      <p:tavLst>
                                        <p:tav tm="0">
                                          <p:val>
                                            <p:strVal val="#ppt_x"/>
                                          </p:val>
                                        </p:tav>
                                        <p:tav tm="100000">
                                          <p:val>
                                            <p:strVal val="#ppt_x"/>
                                          </p:val>
                                        </p:tav>
                                      </p:tavLst>
                                    </p:anim>
                                    <p:anim calcmode="lin" valueType="num">
                                      <p:cBhvr>
                                        <p:cTn id="304" dur="1000" fill="hold"/>
                                        <p:tgtEl>
                                          <p:spTgt spid="123"/>
                                        </p:tgtEl>
                                        <p:attrNameLst>
                                          <p:attrName>ppt_y</p:attrName>
                                        </p:attrNameLst>
                                      </p:cBhvr>
                                      <p:tavLst>
                                        <p:tav tm="0">
                                          <p:val>
                                            <p:strVal val="#ppt_y+.1"/>
                                          </p:val>
                                        </p:tav>
                                        <p:tav tm="100000">
                                          <p:val>
                                            <p:strVal val="#ppt_y"/>
                                          </p:val>
                                        </p:tav>
                                      </p:tavLst>
                                    </p:anim>
                                  </p:childTnLst>
                                </p:cTn>
                              </p:par>
                              <p:par>
                                <p:cTn id="305" presetID="42" presetClass="entr" presetSubtype="0" fill="hold" grpId="0" nodeType="withEffect">
                                  <p:stCondLst>
                                    <p:cond delay="0"/>
                                  </p:stCondLst>
                                  <p:childTnLst>
                                    <p:set>
                                      <p:cBhvr>
                                        <p:cTn id="306" dur="1" fill="hold">
                                          <p:stCondLst>
                                            <p:cond delay="0"/>
                                          </p:stCondLst>
                                        </p:cTn>
                                        <p:tgtEl>
                                          <p:spTgt spid="125"/>
                                        </p:tgtEl>
                                        <p:attrNameLst>
                                          <p:attrName>style.visibility</p:attrName>
                                        </p:attrNameLst>
                                      </p:cBhvr>
                                      <p:to>
                                        <p:strVal val="visible"/>
                                      </p:to>
                                    </p:set>
                                    <p:animEffect transition="in" filter="fade">
                                      <p:cBhvr>
                                        <p:cTn id="307" dur="1000"/>
                                        <p:tgtEl>
                                          <p:spTgt spid="125"/>
                                        </p:tgtEl>
                                      </p:cBhvr>
                                    </p:animEffect>
                                    <p:anim calcmode="lin" valueType="num">
                                      <p:cBhvr>
                                        <p:cTn id="308" dur="1000" fill="hold"/>
                                        <p:tgtEl>
                                          <p:spTgt spid="125"/>
                                        </p:tgtEl>
                                        <p:attrNameLst>
                                          <p:attrName>ppt_x</p:attrName>
                                        </p:attrNameLst>
                                      </p:cBhvr>
                                      <p:tavLst>
                                        <p:tav tm="0">
                                          <p:val>
                                            <p:strVal val="#ppt_x"/>
                                          </p:val>
                                        </p:tav>
                                        <p:tav tm="100000">
                                          <p:val>
                                            <p:strVal val="#ppt_x"/>
                                          </p:val>
                                        </p:tav>
                                      </p:tavLst>
                                    </p:anim>
                                    <p:anim calcmode="lin" valueType="num">
                                      <p:cBhvr>
                                        <p:cTn id="309" dur="1000" fill="hold"/>
                                        <p:tgtEl>
                                          <p:spTgt spid="125"/>
                                        </p:tgtEl>
                                        <p:attrNameLst>
                                          <p:attrName>ppt_y</p:attrName>
                                        </p:attrNameLst>
                                      </p:cBhvr>
                                      <p:tavLst>
                                        <p:tav tm="0">
                                          <p:val>
                                            <p:strVal val="#ppt_y+.1"/>
                                          </p:val>
                                        </p:tav>
                                        <p:tav tm="100000">
                                          <p:val>
                                            <p:strVal val="#ppt_y"/>
                                          </p:val>
                                        </p:tav>
                                      </p:tavLst>
                                    </p:anim>
                                  </p:childTnLst>
                                </p:cTn>
                              </p:par>
                              <p:par>
                                <p:cTn id="310" presetID="42" presetClass="entr" presetSubtype="0" fill="hold" grpId="0" nodeType="withEffect">
                                  <p:stCondLst>
                                    <p:cond delay="0"/>
                                  </p:stCondLst>
                                  <p:childTnLst>
                                    <p:set>
                                      <p:cBhvr>
                                        <p:cTn id="311" dur="1" fill="hold">
                                          <p:stCondLst>
                                            <p:cond delay="0"/>
                                          </p:stCondLst>
                                        </p:cTn>
                                        <p:tgtEl>
                                          <p:spTgt spid="126"/>
                                        </p:tgtEl>
                                        <p:attrNameLst>
                                          <p:attrName>style.visibility</p:attrName>
                                        </p:attrNameLst>
                                      </p:cBhvr>
                                      <p:to>
                                        <p:strVal val="visible"/>
                                      </p:to>
                                    </p:set>
                                    <p:animEffect transition="in" filter="fade">
                                      <p:cBhvr>
                                        <p:cTn id="312" dur="1000"/>
                                        <p:tgtEl>
                                          <p:spTgt spid="126"/>
                                        </p:tgtEl>
                                      </p:cBhvr>
                                    </p:animEffect>
                                    <p:anim calcmode="lin" valueType="num">
                                      <p:cBhvr>
                                        <p:cTn id="313" dur="1000" fill="hold"/>
                                        <p:tgtEl>
                                          <p:spTgt spid="126"/>
                                        </p:tgtEl>
                                        <p:attrNameLst>
                                          <p:attrName>ppt_x</p:attrName>
                                        </p:attrNameLst>
                                      </p:cBhvr>
                                      <p:tavLst>
                                        <p:tav tm="0">
                                          <p:val>
                                            <p:strVal val="#ppt_x"/>
                                          </p:val>
                                        </p:tav>
                                        <p:tav tm="100000">
                                          <p:val>
                                            <p:strVal val="#ppt_x"/>
                                          </p:val>
                                        </p:tav>
                                      </p:tavLst>
                                    </p:anim>
                                    <p:anim calcmode="lin" valueType="num">
                                      <p:cBhvr>
                                        <p:cTn id="314" dur="1000" fill="hold"/>
                                        <p:tgtEl>
                                          <p:spTgt spid="126"/>
                                        </p:tgtEl>
                                        <p:attrNameLst>
                                          <p:attrName>ppt_y</p:attrName>
                                        </p:attrNameLst>
                                      </p:cBhvr>
                                      <p:tavLst>
                                        <p:tav tm="0">
                                          <p:val>
                                            <p:strVal val="#ppt_y+.1"/>
                                          </p:val>
                                        </p:tav>
                                        <p:tav tm="100000">
                                          <p:val>
                                            <p:strVal val="#ppt_y"/>
                                          </p:val>
                                        </p:tav>
                                      </p:tavLst>
                                    </p:anim>
                                  </p:childTnLst>
                                </p:cTn>
                              </p:par>
                              <p:par>
                                <p:cTn id="315" presetID="47" presetClass="entr" presetSubtype="0" fill="hold" grpId="0" nodeType="withEffect">
                                  <p:stCondLst>
                                    <p:cond delay="0"/>
                                  </p:stCondLst>
                                  <p:childTnLst>
                                    <p:set>
                                      <p:cBhvr>
                                        <p:cTn id="316" dur="1" fill="hold">
                                          <p:stCondLst>
                                            <p:cond delay="0"/>
                                          </p:stCondLst>
                                        </p:cTn>
                                        <p:tgtEl>
                                          <p:spTgt spid="127"/>
                                        </p:tgtEl>
                                        <p:attrNameLst>
                                          <p:attrName>style.visibility</p:attrName>
                                        </p:attrNameLst>
                                      </p:cBhvr>
                                      <p:to>
                                        <p:strVal val="visible"/>
                                      </p:to>
                                    </p:set>
                                    <p:animEffect transition="in" filter="fade">
                                      <p:cBhvr>
                                        <p:cTn id="317" dur="1000"/>
                                        <p:tgtEl>
                                          <p:spTgt spid="127"/>
                                        </p:tgtEl>
                                      </p:cBhvr>
                                    </p:animEffect>
                                    <p:anim calcmode="lin" valueType="num">
                                      <p:cBhvr>
                                        <p:cTn id="318" dur="1000" fill="hold"/>
                                        <p:tgtEl>
                                          <p:spTgt spid="127"/>
                                        </p:tgtEl>
                                        <p:attrNameLst>
                                          <p:attrName>ppt_x</p:attrName>
                                        </p:attrNameLst>
                                      </p:cBhvr>
                                      <p:tavLst>
                                        <p:tav tm="0">
                                          <p:val>
                                            <p:strVal val="#ppt_x"/>
                                          </p:val>
                                        </p:tav>
                                        <p:tav tm="100000">
                                          <p:val>
                                            <p:strVal val="#ppt_x"/>
                                          </p:val>
                                        </p:tav>
                                      </p:tavLst>
                                    </p:anim>
                                    <p:anim calcmode="lin" valueType="num">
                                      <p:cBhvr>
                                        <p:cTn id="319" dur="1000" fill="hold"/>
                                        <p:tgtEl>
                                          <p:spTgt spid="127"/>
                                        </p:tgtEl>
                                        <p:attrNameLst>
                                          <p:attrName>ppt_y</p:attrName>
                                        </p:attrNameLst>
                                      </p:cBhvr>
                                      <p:tavLst>
                                        <p:tav tm="0">
                                          <p:val>
                                            <p:strVal val="#ppt_y-.1"/>
                                          </p:val>
                                        </p:tav>
                                        <p:tav tm="100000">
                                          <p:val>
                                            <p:strVal val="#ppt_y"/>
                                          </p:val>
                                        </p:tav>
                                      </p:tavLst>
                                    </p:anim>
                                  </p:childTnLst>
                                </p:cTn>
                              </p:par>
                              <p:par>
                                <p:cTn id="320" presetID="47" presetClass="entr" presetSubtype="0" fill="hold" grpId="0" nodeType="withEffect">
                                  <p:stCondLst>
                                    <p:cond delay="0"/>
                                  </p:stCondLst>
                                  <p:childTnLst>
                                    <p:set>
                                      <p:cBhvr>
                                        <p:cTn id="321" dur="1" fill="hold">
                                          <p:stCondLst>
                                            <p:cond delay="0"/>
                                          </p:stCondLst>
                                        </p:cTn>
                                        <p:tgtEl>
                                          <p:spTgt spid="128"/>
                                        </p:tgtEl>
                                        <p:attrNameLst>
                                          <p:attrName>style.visibility</p:attrName>
                                        </p:attrNameLst>
                                      </p:cBhvr>
                                      <p:to>
                                        <p:strVal val="visible"/>
                                      </p:to>
                                    </p:set>
                                    <p:animEffect transition="in" filter="fade">
                                      <p:cBhvr>
                                        <p:cTn id="322" dur="1000"/>
                                        <p:tgtEl>
                                          <p:spTgt spid="128"/>
                                        </p:tgtEl>
                                      </p:cBhvr>
                                    </p:animEffect>
                                    <p:anim calcmode="lin" valueType="num">
                                      <p:cBhvr>
                                        <p:cTn id="323" dur="1000" fill="hold"/>
                                        <p:tgtEl>
                                          <p:spTgt spid="128"/>
                                        </p:tgtEl>
                                        <p:attrNameLst>
                                          <p:attrName>ppt_x</p:attrName>
                                        </p:attrNameLst>
                                      </p:cBhvr>
                                      <p:tavLst>
                                        <p:tav tm="0">
                                          <p:val>
                                            <p:strVal val="#ppt_x"/>
                                          </p:val>
                                        </p:tav>
                                        <p:tav tm="100000">
                                          <p:val>
                                            <p:strVal val="#ppt_x"/>
                                          </p:val>
                                        </p:tav>
                                      </p:tavLst>
                                    </p:anim>
                                    <p:anim calcmode="lin" valueType="num">
                                      <p:cBhvr>
                                        <p:cTn id="324" dur="1000" fill="hold"/>
                                        <p:tgtEl>
                                          <p:spTgt spid="128"/>
                                        </p:tgtEl>
                                        <p:attrNameLst>
                                          <p:attrName>ppt_y</p:attrName>
                                        </p:attrNameLst>
                                      </p:cBhvr>
                                      <p:tavLst>
                                        <p:tav tm="0">
                                          <p:val>
                                            <p:strVal val="#ppt_y-.1"/>
                                          </p:val>
                                        </p:tav>
                                        <p:tav tm="100000">
                                          <p:val>
                                            <p:strVal val="#ppt_y"/>
                                          </p:val>
                                        </p:tav>
                                      </p:tavLst>
                                    </p:anim>
                                  </p:childTnLst>
                                </p:cTn>
                              </p:par>
                              <p:par>
                                <p:cTn id="325" presetID="47" presetClass="entr" presetSubtype="0" fill="hold" grpId="0" nodeType="withEffect">
                                  <p:stCondLst>
                                    <p:cond delay="0"/>
                                  </p:stCondLst>
                                  <p:childTnLst>
                                    <p:set>
                                      <p:cBhvr>
                                        <p:cTn id="326" dur="1" fill="hold">
                                          <p:stCondLst>
                                            <p:cond delay="0"/>
                                          </p:stCondLst>
                                        </p:cTn>
                                        <p:tgtEl>
                                          <p:spTgt spid="129"/>
                                        </p:tgtEl>
                                        <p:attrNameLst>
                                          <p:attrName>style.visibility</p:attrName>
                                        </p:attrNameLst>
                                      </p:cBhvr>
                                      <p:to>
                                        <p:strVal val="visible"/>
                                      </p:to>
                                    </p:set>
                                    <p:animEffect transition="in" filter="fade">
                                      <p:cBhvr>
                                        <p:cTn id="327" dur="1000"/>
                                        <p:tgtEl>
                                          <p:spTgt spid="129"/>
                                        </p:tgtEl>
                                      </p:cBhvr>
                                    </p:animEffect>
                                    <p:anim calcmode="lin" valueType="num">
                                      <p:cBhvr>
                                        <p:cTn id="328" dur="1000" fill="hold"/>
                                        <p:tgtEl>
                                          <p:spTgt spid="129"/>
                                        </p:tgtEl>
                                        <p:attrNameLst>
                                          <p:attrName>ppt_x</p:attrName>
                                        </p:attrNameLst>
                                      </p:cBhvr>
                                      <p:tavLst>
                                        <p:tav tm="0">
                                          <p:val>
                                            <p:strVal val="#ppt_x"/>
                                          </p:val>
                                        </p:tav>
                                        <p:tav tm="100000">
                                          <p:val>
                                            <p:strVal val="#ppt_x"/>
                                          </p:val>
                                        </p:tav>
                                      </p:tavLst>
                                    </p:anim>
                                    <p:anim calcmode="lin" valueType="num">
                                      <p:cBhvr>
                                        <p:cTn id="329" dur="1000" fill="hold"/>
                                        <p:tgtEl>
                                          <p:spTgt spid="129"/>
                                        </p:tgtEl>
                                        <p:attrNameLst>
                                          <p:attrName>ppt_y</p:attrName>
                                        </p:attrNameLst>
                                      </p:cBhvr>
                                      <p:tavLst>
                                        <p:tav tm="0">
                                          <p:val>
                                            <p:strVal val="#ppt_y-.1"/>
                                          </p:val>
                                        </p:tav>
                                        <p:tav tm="100000">
                                          <p:val>
                                            <p:strVal val="#ppt_y"/>
                                          </p:val>
                                        </p:tav>
                                      </p:tavLst>
                                    </p:anim>
                                  </p:childTnLst>
                                </p:cTn>
                              </p:par>
                              <p:par>
                                <p:cTn id="330" presetID="47" presetClass="entr" presetSubtype="0" fill="hold" grpId="0" nodeType="withEffect">
                                  <p:stCondLst>
                                    <p:cond delay="0"/>
                                  </p:stCondLst>
                                  <p:childTnLst>
                                    <p:set>
                                      <p:cBhvr>
                                        <p:cTn id="331" dur="1" fill="hold">
                                          <p:stCondLst>
                                            <p:cond delay="0"/>
                                          </p:stCondLst>
                                        </p:cTn>
                                        <p:tgtEl>
                                          <p:spTgt spid="130"/>
                                        </p:tgtEl>
                                        <p:attrNameLst>
                                          <p:attrName>style.visibility</p:attrName>
                                        </p:attrNameLst>
                                      </p:cBhvr>
                                      <p:to>
                                        <p:strVal val="visible"/>
                                      </p:to>
                                    </p:set>
                                    <p:animEffect transition="in" filter="fade">
                                      <p:cBhvr>
                                        <p:cTn id="332" dur="1000"/>
                                        <p:tgtEl>
                                          <p:spTgt spid="130"/>
                                        </p:tgtEl>
                                      </p:cBhvr>
                                    </p:animEffect>
                                    <p:anim calcmode="lin" valueType="num">
                                      <p:cBhvr>
                                        <p:cTn id="333" dur="1000" fill="hold"/>
                                        <p:tgtEl>
                                          <p:spTgt spid="130"/>
                                        </p:tgtEl>
                                        <p:attrNameLst>
                                          <p:attrName>ppt_x</p:attrName>
                                        </p:attrNameLst>
                                      </p:cBhvr>
                                      <p:tavLst>
                                        <p:tav tm="0">
                                          <p:val>
                                            <p:strVal val="#ppt_x"/>
                                          </p:val>
                                        </p:tav>
                                        <p:tav tm="100000">
                                          <p:val>
                                            <p:strVal val="#ppt_x"/>
                                          </p:val>
                                        </p:tav>
                                      </p:tavLst>
                                    </p:anim>
                                    <p:anim calcmode="lin" valueType="num">
                                      <p:cBhvr>
                                        <p:cTn id="334" dur="1000" fill="hold"/>
                                        <p:tgtEl>
                                          <p:spTgt spid="130"/>
                                        </p:tgtEl>
                                        <p:attrNameLst>
                                          <p:attrName>ppt_y</p:attrName>
                                        </p:attrNameLst>
                                      </p:cBhvr>
                                      <p:tavLst>
                                        <p:tav tm="0">
                                          <p:val>
                                            <p:strVal val="#ppt_y-.1"/>
                                          </p:val>
                                        </p:tav>
                                        <p:tav tm="100000">
                                          <p:val>
                                            <p:strVal val="#ppt_y"/>
                                          </p:val>
                                        </p:tav>
                                      </p:tavLst>
                                    </p:anim>
                                  </p:childTnLst>
                                </p:cTn>
                              </p:par>
                              <p:par>
                                <p:cTn id="335" presetID="47" presetClass="entr" presetSubtype="0" fill="hold" grpId="0" nodeType="withEffect">
                                  <p:stCondLst>
                                    <p:cond delay="0"/>
                                  </p:stCondLst>
                                  <p:childTnLst>
                                    <p:set>
                                      <p:cBhvr>
                                        <p:cTn id="336" dur="1" fill="hold">
                                          <p:stCondLst>
                                            <p:cond delay="0"/>
                                          </p:stCondLst>
                                        </p:cTn>
                                        <p:tgtEl>
                                          <p:spTgt spid="131"/>
                                        </p:tgtEl>
                                        <p:attrNameLst>
                                          <p:attrName>style.visibility</p:attrName>
                                        </p:attrNameLst>
                                      </p:cBhvr>
                                      <p:to>
                                        <p:strVal val="visible"/>
                                      </p:to>
                                    </p:set>
                                    <p:animEffect transition="in" filter="fade">
                                      <p:cBhvr>
                                        <p:cTn id="337" dur="1000"/>
                                        <p:tgtEl>
                                          <p:spTgt spid="131"/>
                                        </p:tgtEl>
                                      </p:cBhvr>
                                    </p:animEffect>
                                    <p:anim calcmode="lin" valueType="num">
                                      <p:cBhvr>
                                        <p:cTn id="338" dur="1000" fill="hold"/>
                                        <p:tgtEl>
                                          <p:spTgt spid="131"/>
                                        </p:tgtEl>
                                        <p:attrNameLst>
                                          <p:attrName>ppt_x</p:attrName>
                                        </p:attrNameLst>
                                      </p:cBhvr>
                                      <p:tavLst>
                                        <p:tav tm="0">
                                          <p:val>
                                            <p:strVal val="#ppt_x"/>
                                          </p:val>
                                        </p:tav>
                                        <p:tav tm="100000">
                                          <p:val>
                                            <p:strVal val="#ppt_x"/>
                                          </p:val>
                                        </p:tav>
                                      </p:tavLst>
                                    </p:anim>
                                    <p:anim calcmode="lin" valueType="num">
                                      <p:cBhvr>
                                        <p:cTn id="339" dur="1000" fill="hold"/>
                                        <p:tgtEl>
                                          <p:spTgt spid="1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5" grpId="0" animBg="1"/>
      <p:bldP spid="16" grpId="0" animBg="1"/>
      <p:bldP spid="17" grpId="0" animBg="1"/>
      <p:bldP spid="18" grpId="0" animBg="1"/>
      <p:bldP spid="19" grpId="0" animBg="1"/>
      <p:bldP spid="20" grpId="0" animBg="1"/>
      <p:bldP spid="21" grpId="0" animBg="1"/>
      <p:bldP spid="22" grpId="0" animBg="1"/>
      <p:bldP spid="24" grpId="0" animBg="1"/>
      <p:bldP spid="25"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84" grpId="0" animBg="1"/>
      <p:bldP spid="85" grpId="0" animBg="1"/>
      <p:bldP spid="86" grpId="0" animBg="1"/>
      <p:bldP spid="87"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8" grpId="0" animBg="1"/>
      <p:bldP spid="109" grpId="0" animBg="1"/>
      <p:bldP spid="110" grpId="0" animBg="1"/>
      <p:bldP spid="122" grpId="0" animBg="1"/>
      <p:bldP spid="123" grpId="0" animBg="1"/>
      <p:bldP spid="125" grpId="0" animBg="1"/>
      <p:bldP spid="126" grpId="0" animBg="1"/>
      <p:bldP spid="127" grpId="0" animBg="1"/>
      <p:bldP spid="128" grpId="0" animBg="1"/>
      <p:bldP spid="129" grpId="0" animBg="1"/>
      <p:bldP spid="130" grpId="0" animBg="1"/>
      <p:bldP spid="13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50F393B-F6E3-4AC9-8E93-9972C877C7D3}"/>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a:extLst>
              <a:ext uri="{FF2B5EF4-FFF2-40B4-BE49-F238E27FC236}">
                <a16:creationId xmlns:a16="http://schemas.microsoft.com/office/drawing/2014/main" id="{15F248B9-5F07-4204-9464-5D33421DDAA2}"/>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40B9F8DE-E3B7-4DA0-81D7-BDFA5EED17C6}"/>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6557151B-0A8B-4F8E-AF03-55C2F83B4B94}"/>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Graphic 10" descr="Unicorn">
            <a:extLst>
              <a:ext uri="{FF2B5EF4-FFF2-40B4-BE49-F238E27FC236}">
                <a16:creationId xmlns:a16="http://schemas.microsoft.com/office/drawing/2014/main" id="{8390E151-67CD-4294-A299-80511746FC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77066" y="1432023"/>
            <a:ext cx="3888000" cy="3888000"/>
          </a:xfrm>
          <a:prstGeom prst="rect">
            <a:avLst/>
          </a:prstGeom>
        </p:spPr>
      </p:pic>
      <p:sp>
        <p:nvSpPr>
          <p:cNvPr id="7" name="Rectangle 6">
            <a:extLst>
              <a:ext uri="{FF2B5EF4-FFF2-40B4-BE49-F238E27FC236}">
                <a16:creationId xmlns:a16="http://schemas.microsoft.com/office/drawing/2014/main" id="{8DCCFA62-8E12-4B22-93A1-86CBFF7C9F23}"/>
              </a:ext>
            </a:extLst>
          </p:cNvPr>
          <p:cNvSpPr/>
          <p:nvPr/>
        </p:nvSpPr>
        <p:spPr>
          <a:xfrm>
            <a:off x="4459397" y="1523670"/>
            <a:ext cx="5524168" cy="3704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Rectangle 7">
            <a:extLst>
              <a:ext uri="{FF2B5EF4-FFF2-40B4-BE49-F238E27FC236}">
                <a16:creationId xmlns:a16="http://schemas.microsoft.com/office/drawing/2014/main" id="{9BC36739-1F39-45E0-9AE1-81DC98EA2E35}"/>
              </a:ext>
            </a:extLst>
          </p:cNvPr>
          <p:cNvSpPr/>
          <p:nvPr/>
        </p:nvSpPr>
        <p:spPr>
          <a:xfrm>
            <a:off x="4670734" y="1311442"/>
            <a:ext cx="7521266" cy="4022888"/>
          </a:xfrm>
          <a:prstGeom prst="rect">
            <a:avLst/>
          </a:prstGeom>
          <a:solidFill>
            <a:srgbClr val="21212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9" name="TextBox 8">
            <a:extLst>
              <a:ext uri="{FF2B5EF4-FFF2-40B4-BE49-F238E27FC236}">
                <a16:creationId xmlns:a16="http://schemas.microsoft.com/office/drawing/2014/main" id="{1D0D9F79-5FF3-4C17-B3B5-437E76424DE2}"/>
              </a:ext>
            </a:extLst>
          </p:cNvPr>
          <p:cNvSpPr txBox="1"/>
          <p:nvPr/>
        </p:nvSpPr>
        <p:spPr>
          <a:xfrm>
            <a:off x="5009966" y="2197893"/>
            <a:ext cx="5524168" cy="2462213"/>
          </a:xfrm>
          <a:prstGeom prst="rect">
            <a:avLst/>
          </a:prstGeom>
          <a:noFill/>
        </p:spPr>
        <p:txBody>
          <a:bodyPr wrap="square" lIns="0" tIns="0" rIns="0" bIns="0" numCol="1" rtlCol="0">
            <a:spAutoFit/>
          </a:bodyPr>
          <a:lstStyle/>
          <a:p>
            <a:r>
              <a:rPr lang="de-DE" altLang="de-DE" sz="8000" dirty="0">
                <a:solidFill>
                  <a:schemeClr val="bg1"/>
                </a:solidFill>
                <a:latin typeface="Franklin Gothic Demi" panose="020B0703020102020204" pitchFamily="34" charset="0"/>
              </a:rPr>
              <a:t>About </a:t>
            </a:r>
          </a:p>
          <a:p>
            <a:r>
              <a:rPr lang="de-DE" altLang="de-DE" sz="8000" dirty="0">
                <a:solidFill>
                  <a:schemeClr val="bg1"/>
                </a:solidFill>
                <a:latin typeface="Franklin Gothic Demi" panose="020B0703020102020204" pitchFamily="34" charset="0"/>
              </a:rPr>
              <a:t>Me</a:t>
            </a:r>
          </a:p>
        </p:txBody>
      </p:sp>
    </p:spTree>
    <p:extLst>
      <p:ext uri="{BB962C8B-B14F-4D97-AF65-F5344CB8AC3E}">
        <p14:creationId xmlns:p14="http://schemas.microsoft.com/office/powerpoint/2010/main" val="31864372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10" presetClass="entr" presetSubtype="0"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750"/>
                                        <p:tgtEl>
                                          <p:spTgt spid="9"/>
                                        </p:tgtEl>
                                      </p:cBhvr>
                                    </p:animEffect>
                                  </p:childTnLst>
                                </p:cTn>
                              </p:par>
                              <p:par>
                                <p:cTn id="13" presetID="2" presetClass="entr" presetSubtype="2"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750" fill="hold"/>
                                        <p:tgtEl>
                                          <p:spTgt spid="11"/>
                                        </p:tgtEl>
                                        <p:attrNameLst>
                                          <p:attrName>ppt_x</p:attrName>
                                        </p:attrNameLst>
                                      </p:cBhvr>
                                      <p:tavLst>
                                        <p:tav tm="0">
                                          <p:val>
                                            <p:strVal val="1+#ppt_w/2"/>
                                          </p:val>
                                        </p:tav>
                                        <p:tav tm="100000">
                                          <p:val>
                                            <p:strVal val="#ppt_x"/>
                                          </p:val>
                                        </p:tav>
                                      </p:tavLst>
                                    </p:anim>
                                    <p:anim calcmode="lin" valueType="num">
                                      <p:cBhvr additive="base">
                                        <p:cTn id="16" dur="7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CB508D-F2D1-4E8A-B999-ECA3AB7C4AD7}"/>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17" name="Object 16" hidden="1">
            <a:extLst>
              <a:ext uri="{FF2B5EF4-FFF2-40B4-BE49-F238E27FC236}">
                <a16:creationId xmlns:a16="http://schemas.microsoft.com/office/drawing/2014/main" id="{87A43735-9FC0-4C73-ACE7-5B07392077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87A43735-9FC0-4C73-ACE7-5B0739207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4BB0865F-C5C1-4F39-B839-491C0C750519}"/>
              </a:ext>
            </a:extLst>
          </p:cNvPr>
          <p:cNvSpPr/>
          <p:nvPr/>
        </p:nvSpPr>
        <p:spPr>
          <a:xfrm>
            <a:off x="1017914" y="672860"/>
            <a:ext cx="3226280" cy="5205425"/>
          </a:xfrm>
          <a:prstGeom prst="rect">
            <a:avLst/>
          </a:prstGeom>
          <a:solidFill>
            <a:srgbClr val="495A70"/>
          </a:solidFill>
          <a:ln w="9525">
            <a:noFill/>
          </a:ln>
          <a:scene3d>
            <a:camera prst="perspective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spcAft>
                <a:spcPts val="600"/>
              </a:spcAft>
            </a:pPr>
            <a:r>
              <a:rPr lang="en-US" sz="1200" kern="0" dirty="0">
                <a:solidFill>
                  <a:schemeClr val="bg1"/>
                </a:solidFill>
                <a:latin typeface="Arial" panose="020B0604020202020204" pitchFamily="34" charset="0"/>
                <a:cs typeface="Arial" panose="020B0604020202020204" pitchFamily="34" charset="0"/>
              </a:rPr>
              <a:t>Salutations, potential voter.</a:t>
            </a:r>
          </a:p>
          <a:p>
            <a:pPr>
              <a:spcAft>
                <a:spcPts val="600"/>
              </a:spcAft>
            </a:pPr>
            <a:r>
              <a:rPr lang="en-US" sz="1200" kern="0" dirty="0">
                <a:solidFill>
                  <a:schemeClr val="bg1"/>
                </a:solidFill>
                <a:latin typeface="Arial" panose="020B0604020202020204" pitchFamily="34" charset="0"/>
                <a:cs typeface="Arial" panose="020B0604020202020204" pitchFamily="34" charset="0"/>
              </a:rPr>
              <a:t>My name is Alexander Zlatev. I was born in a small town next to the Black Sea, in Bulgaria. My native tongue is Bulgarian, evidently I speak English and I am learning French at the moment. Good tea and cat memes are the way to my heart. In my free time, I usually read, sleep or complain. I also used to draw before I gave it up due to my insecurity. I am a Scorpio meaning that I am expecting a “Happy Birthday” from everyone in November. I am either extremely extroverted or extremely introverted. I am also a man of order although my digital footprint suggests otherwise. I cannot define myself politically with a single word because recently my views have been changing, however what I can ensure is that I have the PEOPLE’s best interest at heart. </a:t>
            </a:r>
            <a:endParaRPr lang="en-US" sz="1200" kern="0" dirty="0">
              <a:solidFill>
                <a:schemeClr val="tx1"/>
              </a:solidFill>
              <a:latin typeface="Segoe UI Light" panose="020B0502040204020203" pitchFamily="34" charset="0"/>
              <a:cs typeface="Segoe UI Light" panose="020B0502040204020203" pitchFamily="34" charset="0"/>
            </a:endParaRPr>
          </a:p>
          <a:p>
            <a:pPr>
              <a:spcAft>
                <a:spcPts val="600"/>
              </a:spcAft>
            </a:pPr>
            <a:endParaRPr lang="en-US" sz="1050" kern="0" dirty="0">
              <a:solidFill>
                <a:schemeClr val="tx1"/>
              </a:solidFill>
            </a:endParaRPr>
          </a:p>
        </p:txBody>
      </p:sp>
      <p:grpSp>
        <p:nvGrpSpPr>
          <p:cNvPr id="22" name="Group 21">
            <a:extLst>
              <a:ext uri="{FF2B5EF4-FFF2-40B4-BE49-F238E27FC236}">
                <a16:creationId xmlns:a16="http://schemas.microsoft.com/office/drawing/2014/main" id="{B52E9CD2-F193-49C0-AA00-49D367BCF8D6}"/>
              </a:ext>
            </a:extLst>
          </p:cNvPr>
          <p:cNvGrpSpPr/>
          <p:nvPr/>
        </p:nvGrpSpPr>
        <p:grpSpPr>
          <a:xfrm>
            <a:off x="1017914" y="695469"/>
            <a:ext cx="3226279" cy="5205424"/>
            <a:chOff x="1017917" y="672861"/>
            <a:chExt cx="3226279" cy="5205424"/>
          </a:xfrm>
          <a:solidFill>
            <a:srgbClr val="495A70"/>
          </a:solidFill>
          <a:scene3d>
            <a:camera prst="perspectiveFront">
              <a:rot lat="0" lon="21594000" rev="0"/>
            </a:camera>
            <a:lightRig rig="threePt" dir="t"/>
          </a:scene3d>
        </p:grpSpPr>
        <p:pic>
          <p:nvPicPr>
            <p:cNvPr id="10" name="Picture 9">
              <a:extLst>
                <a:ext uri="{FF2B5EF4-FFF2-40B4-BE49-F238E27FC236}">
                  <a16:creationId xmlns:a16="http://schemas.microsoft.com/office/drawing/2014/main" id="{52377E33-1039-4969-B625-409BE72EFF28}"/>
                </a:ext>
              </a:extLst>
            </p:cNvPr>
            <p:cNvPicPr>
              <a:picLocks noChangeAspect="1"/>
            </p:cNvPicPr>
            <p:nvPr/>
          </p:nvPicPr>
          <p:blipFill>
            <a:blip r:embed="rId5">
              <a:extLst>
                <a:ext uri="{28A0092B-C50C-407E-A947-70E740481C1C}">
                  <a14:useLocalDpi xmlns:a14="http://schemas.microsoft.com/office/drawing/2010/main" val="0"/>
                </a:ext>
              </a:extLst>
            </a:blip>
            <a:srcRect l="432" r="432"/>
            <a:stretch/>
          </p:blipFill>
          <p:spPr>
            <a:xfrm>
              <a:off x="1017917" y="672861"/>
              <a:ext cx="3226277" cy="4160396"/>
            </a:xfrm>
            <a:prstGeom prst="rect">
              <a:avLst/>
            </a:prstGeom>
            <a:grpFill/>
            <a:effectLst>
              <a:innerShdw blurRad="63500" dist="50800" dir="8100000">
                <a:prstClr val="black">
                  <a:alpha val="50000"/>
                </a:prstClr>
              </a:innerShdw>
            </a:effectLst>
          </p:spPr>
        </p:pic>
        <p:sp>
          <p:nvSpPr>
            <p:cNvPr id="6" name="Rectangle 5">
              <a:extLst>
                <a:ext uri="{FF2B5EF4-FFF2-40B4-BE49-F238E27FC236}">
                  <a16:creationId xmlns:a16="http://schemas.microsoft.com/office/drawing/2014/main" id="{9F705935-BCC5-4ECD-9A6B-DA9366FC9983}"/>
                </a:ext>
              </a:extLst>
            </p:cNvPr>
            <p:cNvSpPr/>
            <p:nvPr/>
          </p:nvSpPr>
          <p:spPr>
            <a:xfrm>
              <a:off x="1017917" y="4833257"/>
              <a:ext cx="3226279" cy="1045028"/>
            </a:xfrm>
            <a:prstGeom prst="rect">
              <a:avLst/>
            </a:prstGeom>
            <a:grpFill/>
            <a:ln w="9525">
              <a:solidFill>
                <a:srgbClr val="1A1D24"/>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b"/>
            <a:lstStyle/>
            <a:p>
              <a:pPr algn="ctr"/>
              <a:r>
                <a:rPr lang="en-US" sz="2800" b="1" kern="0" dirty="0">
                  <a:solidFill>
                    <a:schemeClr val="bg1"/>
                  </a:solidFill>
                  <a:latin typeface="Arial" panose="020B0604020202020204" pitchFamily="34" charset="0"/>
                  <a:cs typeface="Arial" panose="020B0604020202020204" pitchFamily="34" charset="0"/>
                </a:rPr>
                <a:t>Alexander Zlatev</a:t>
              </a:r>
            </a:p>
            <a:p>
              <a:pPr algn="ctr"/>
              <a:r>
                <a:rPr lang="en-US" sz="2000" b="1" kern="0" dirty="0">
                  <a:solidFill>
                    <a:schemeClr val="bg1"/>
                  </a:solidFill>
                  <a:latin typeface="Arial" panose="020B0604020202020204" pitchFamily="34" charset="0"/>
                  <a:cs typeface="Arial" panose="020B0604020202020204" pitchFamily="34" charset="0"/>
                </a:rPr>
                <a:t>(He/Him)</a:t>
              </a:r>
            </a:p>
          </p:txBody>
        </p:sp>
      </p:grpSp>
      <p:sp>
        <p:nvSpPr>
          <p:cNvPr id="28" name="Rectangle 27">
            <a:extLst>
              <a:ext uri="{FF2B5EF4-FFF2-40B4-BE49-F238E27FC236}">
                <a16:creationId xmlns:a16="http://schemas.microsoft.com/office/drawing/2014/main" id="{F4AAB6E9-DD24-4D51-AC60-C2F2BFD68405}"/>
              </a:ext>
            </a:extLst>
          </p:cNvPr>
          <p:cNvSpPr/>
          <p:nvPr/>
        </p:nvSpPr>
        <p:spPr>
          <a:xfrm>
            <a:off x="7947802" y="672860"/>
            <a:ext cx="3226280" cy="5205425"/>
          </a:xfrm>
          <a:prstGeom prst="rect">
            <a:avLst/>
          </a:prstGeom>
          <a:solidFill>
            <a:srgbClr val="44546A"/>
          </a:solidFill>
          <a:ln w="9525">
            <a:noFill/>
          </a:ln>
          <a:scene3d>
            <a:camera prst="perspective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spcAft>
                <a:spcPts val="600"/>
              </a:spcAft>
            </a:pPr>
            <a:r>
              <a:rPr lang="en-US" sz="1200" kern="0" dirty="0">
                <a:solidFill>
                  <a:schemeClr val="bg1"/>
                </a:solidFill>
                <a:latin typeface="Arial" panose="020B0604020202020204" pitchFamily="34" charset="0"/>
                <a:cs typeface="Arial" panose="020B0604020202020204" pitchFamily="34" charset="0"/>
              </a:rPr>
              <a:t>This is Uno, as the name suggests she is my first cat. (I was young, don’t laugh). She is five years old and her zodiac sign is Pisces. Her </a:t>
            </a:r>
            <a:r>
              <a:rPr lang="en-US" sz="1200" kern="0" dirty="0" err="1">
                <a:solidFill>
                  <a:schemeClr val="bg1"/>
                </a:solidFill>
                <a:latin typeface="Arial" panose="020B0604020202020204" pitchFamily="34" charset="0"/>
                <a:cs typeface="Arial" panose="020B0604020202020204" pitchFamily="34" charset="0"/>
              </a:rPr>
              <a:t>favourite</a:t>
            </a:r>
            <a:r>
              <a:rPr lang="en-US" sz="1200" kern="0" dirty="0">
                <a:solidFill>
                  <a:schemeClr val="bg1"/>
                </a:solidFill>
                <a:latin typeface="Arial" panose="020B0604020202020204" pitchFamily="34" charset="0"/>
                <a:cs typeface="Arial" panose="020B0604020202020204" pitchFamily="34" charset="0"/>
              </a:rPr>
              <a:t> hobbies are scratching the furniture, hissing at the seagulls outside and waking up at 3AM to bite my legs and wreak havoc. She loves losing toys, especially balls. Her overall count is 15 lost balls. She doesn’t like fish, and unfortunately she mainly eats packaged cat food which makes her obese but she just refuses to eat anything else. She hates going to the vet and loves biting him. Unlike my calm self, she is a vicious creature born of pure spite but regardless we love her. She is awfully clumsy and extremely vengeful just like me. </a:t>
            </a:r>
          </a:p>
          <a:p>
            <a:pPr>
              <a:spcAft>
                <a:spcPts val="600"/>
              </a:spcAft>
            </a:pPr>
            <a:r>
              <a:rPr lang="en-US" sz="1200" kern="0" dirty="0">
                <a:solidFill>
                  <a:schemeClr val="bg1"/>
                </a:solidFill>
                <a:latin typeface="Arial" panose="020B0604020202020204" pitchFamily="34" charset="0"/>
                <a:cs typeface="Arial" panose="020B0604020202020204" pitchFamily="34" charset="0"/>
              </a:rPr>
              <a:t>Currently she lives at my grandmother’s cat sanctuary as we were unable to take her due to her cowardly nature. </a:t>
            </a:r>
          </a:p>
        </p:txBody>
      </p:sp>
      <p:grpSp>
        <p:nvGrpSpPr>
          <p:cNvPr id="19" name="Group 18">
            <a:extLst>
              <a:ext uri="{FF2B5EF4-FFF2-40B4-BE49-F238E27FC236}">
                <a16:creationId xmlns:a16="http://schemas.microsoft.com/office/drawing/2014/main" id="{20609791-F335-4880-AE82-DEC0D4B163CA}"/>
              </a:ext>
            </a:extLst>
          </p:cNvPr>
          <p:cNvGrpSpPr/>
          <p:nvPr/>
        </p:nvGrpSpPr>
        <p:grpSpPr>
          <a:xfrm>
            <a:off x="7947798" y="695468"/>
            <a:ext cx="3226280" cy="5205425"/>
            <a:chOff x="7947802" y="672860"/>
            <a:chExt cx="3226280" cy="5205425"/>
          </a:xfrm>
          <a:scene3d>
            <a:camera prst="perspectiveFront">
              <a:rot lat="0" lon="21594000" rev="0"/>
            </a:camera>
            <a:lightRig rig="threePt" dir="t"/>
          </a:scene3d>
        </p:grpSpPr>
        <p:pic>
          <p:nvPicPr>
            <p:cNvPr id="20" name="Picture 19">
              <a:extLst>
                <a:ext uri="{FF2B5EF4-FFF2-40B4-BE49-F238E27FC236}">
                  <a16:creationId xmlns:a16="http://schemas.microsoft.com/office/drawing/2014/main" id="{A6C48CF0-432E-43CA-9A15-A3209088E049}"/>
                </a:ext>
              </a:extLst>
            </p:cNvPr>
            <p:cNvPicPr>
              <a:picLocks noChangeAspect="1"/>
            </p:cNvPicPr>
            <p:nvPr/>
          </p:nvPicPr>
          <p:blipFill>
            <a:blip r:embed="rId6">
              <a:extLst>
                <a:ext uri="{28A0092B-C50C-407E-A947-70E740481C1C}">
                  <a14:useLocalDpi xmlns:a14="http://schemas.microsoft.com/office/drawing/2010/main" val="0"/>
                </a:ext>
              </a:extLst>
            </a:blip>
            <a:srcRect l="16349" r="16349"/>
            <a:stretch/>
          </p:blipFill>
          <p:spPr>
            <a:xfrm>
              <a:off x="7947802" y="672860"/>
              <a:ext cx="3226280" cy="4160397"/>
            </a:xfrm>
            <a:prstGeom prst="rect">
              <a:avLst/>
            </a:prstGeom>
            <a:effectLst>
              <a:innerShdw blurRad="63500" dist="50800" dir="8100000">
                <a:prstClr val="black">
                  <a:alpha val="50000"/>
                </a:prstClr>
              </a:innerShdw>
            </a:effectLst>
          </p:spPr>
        </p:pic>
        <p:sp>
          <p:nvSpPr>
            <p:cNvPr id="21" name="Rectangle 20">
              <a:extLst>
                <a:ext uri="{FF2B5EF4-FFF2-40B4-BE49-F238E27FC236}">
                  <a16:creationId xmlns:a16="http://schemas.microsoft.com/office/drawing/2014/main" id="{E370CAFF-6DC1-4277-8EB6-F8551E9D8101}"/>
                </a:ext>
              </a:extLst>
            </p:cNvPr>
            <p:cNvSpPr/>
            <p:nvPr/>
          </p:nvSpPr>
          <p:spPr>
            <a:xfrm>
              <a:off x="7947803" y="4833257"/>
              <a:ext cx="3226279" cy="1045028"/>
            </a:xfrm>
            <a:prstGeom prst="rect">
              <a:avLst/>
            </a:prstGeom>
            <a:solidFill>
              <a:srgbClr val="44546A"/>
            </a:solidFill>
            <a:ln w="9525">
              <a:solidFill>
                <a:srgbClr val="1A1D2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b" anchorCtr="0" forceAA="0" compatLnSpc="1">
              <a:prstTxWarp prst="textNoShape">
                <a:avLst/>
              </a:prstTxWarp>
              <a:noAutofit/>
            </a:bodyPr>
            <a:lstStyle/>
            <a:p>
              <a:pPr algn="ctr"/>
              <a:r>
                <a:rPr lang="en-US" sz="2800" b="1" kern="0" dirty="0">
                  <a:solidFill>
                    <a:schemeClr val="bg1"/>
                  </a:solidFill>
                  <a:latin typeface="Arial" panose="020B0604020202020204" pitchFamily="34" charset="0"/>
                  <a:cs typeface="Arial" panose="020B0604020202020204" pitchFamily="34" charset="0"/>
                </a:rPr>
                <a:t>My Cat(Uno</a:t>
              </a:r>
              <a:r>
                <a:rPr lang="en-US" sz="2000" b="1" kern="0" dirty="0">
                  <a:solidFill>
                    <a:schemeClr val="bg1"/>
                  </a:solidFill>
                  <a:latin typeface="Arial" panose="020B0604020202020204" pitchFamily="34" charset="0"/>
                  <a:cs typeface="Arial" panose="020B0604020202020204" pitchFamily="34" charset="0"/>
                </a:rPr>
                <a:t>)</a:t>
              </a:r>
            </a:p>
            <a:p>
              <a:pPr algn="ctr"/>
              <a:r>
                <a:rPr lang="en-US" sz="2000" b="1" kern="0" dirty="0">
                  <a:solidFill>
                    <a:schemeClr val="bg1"/>
                  </a:solidFill>
                  <a:latin typeface="Arial" panose="020B0604020202020204" pitchFamily="34" charset="0"/>
                  <a:cs typeface="Arial" panose="020B0604020202020204" pitchFamily="34" charset="0"/>
                </a:rPr>
                <a:t>(She/Her)</a:t>
              </a:r>
            </a:p>
          </p:txBody>
        </p:sp>
      </p:grpSp>
    </p:spTree>
    <p:extLst>
      <p:ext uri="{BB962C8B-B14F-4D97-AF65-F5344CB8AC3E}">
        <p14:creationId xmlns:p14="http://schemas.microsoft.com/office/powerpoint/2010/main" val="194419010"/>
      </p:ext>
    </p:extLst>
  </p:cSld>
  <p:clrMapOvr>
    <a:masterClrMapping/>
  </p:clrMapOvr>
  <p:transition spd="slow">
    <p:cove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A175DDA-D21F-4C09-B959-14063D3F6297}"/>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17" name="Object 16" hidden="1">
            <a:extLst>
              <a:ext uri="{FF2B5EF4-FFF2-40B4-BE49-F238E27FC236}">
                <a16:creationId xmlns:a16="http://schemas.microsoft.com/office/drawing/2014/main" id="{87A43735-9FC0-4C73-ACE7-5B07392077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87A43735-9FC0-4C73-ACE7-5B0739207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B52E9CD2-F193-49C0-AA00-49D367BCF8D6}"/>
              </a:ext>
            </a:extLst>
          </p:cNvPr>
          <p:cNvGrpSpPr/>
          <p:nvPr/>
        </p:nvGrpSpPr>
        <p:grpSpPr>
          <a:xfrm>
            <a:off x="1017917" y="672861"/>
            <a:ext cx="3226279" cy="5205424"/>
            <a:chOff x="1017917" y="672861"/>
            <a:chExt cx="3226279" cy="5205424"/>
          </a:xfrm>
          <a:scene3d>
            <a:camera prst="perspectiveFront">
              <a:rot lat="0" lon="10800000" rev="0"/>
            </a:camera>
            <a:lightRig rig="threePt" dir="t"/>
          </a:scene3d>
        </p:grpSpPr>
        <p:pic>
          <p:nvPicPr>
            <p:cNvPr id="10" name="Picture 9">
              <a:extLst>
                <a:ext uri="{FF2B5EF4-FFF2-40B4-BE49-F238E27FC236}">
                  <a16:creationId xmlns:a16="http://schemas.microsoft.com/office/drawing/2014/main" id="{52377E33-1039-4969-B625-409BE72EFF28}"/>
                </a:ext>
              </a:extLst>
            </p:cNvPr>
            <p:cNvPicPr>
              <a:picLocks noChangeAspect="1"/>
            </p:cNvPicPr>
            <p:nvPr/>
          </p:nvPicPr>
          <p:blipFill>
            <a:blip r:embed="rId5">
              <a:extLst>
                <a:ext uri="{28A0092B-C50C-407E-A947-70E740481C1C}">
                  <a14:useLocalDpi xmlns:a14="http://schemas.microsoft.com/office/drawing/2010/main" val="0"/>
                </a:ext>
              </a:extLst>
            </a:blip>
            <a:srcRect l="432" r="432"/>
            <a:stretch/>
          </p:blipFill>
          <p:spPr>
            <a:xfrm>
              <a:off x="1017917" y="672861"/>
              <a:ext cx="3226277" cy="4160396"/>
            </a:xfrm>
            <a:prstGeom prst="rect">
              <a:avLst/>
            </a:prstGeom>
            <a:effectLst>
              <a:innerShdw blurRad="63500" dist="50800" dir="8100000">
                <a:prstClr val="black">
                  <a:alpha val="50000"/>
                </a:prstClr>
              </a:innerShdw>
            </a:effectLst>
          </p:spPr>
        </p:pic>
        <p:sp>
          <p:nvSpPr>
            <p:cNvPr id="6" name="Rectangle 5">
              <a:extLst>
                <a:ext uri="{FF2B5EF4-FFF2-40B4-BE49-F238E27FC236}">
                  <a16:creationId xmlns:a16="http://schemas.microsoft.com/office/drawing/2014/main" id="{9F705935-BCC5-4ECD-9A6B-DA9366FC9983}"/>
                </a:ext>
              </a:extLst>
            </p:cNvPr>
            <p:cNvSpPr/>
            <p:nvPr/>
          </p:nvSpPr>
          <p:spPr>
            <a:xfrm>
              <a:off x="1017917" y="4833257"/>
              <a:ext cx="3226279" cy="1045028"/>
            </a:xfrm>
            <a:prstGeom prst="rect">
              <a:avLst/>
            </a:prstGeom>
            <a:solidFill>
              <a:srgbClr val="44546A"/>
            </a:solidFill>
            <a:ln w="9525">
              <a:solidFill>
                <a:srgbClr val="1A1D24"/>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b"/>
            <a:lstStyle/>
            <a:p>
              <a:pPr algn="ctr"/>
              <a:endParaRPr lang="en-US" sz="2800" b="1" kern="0" dirty="0">
                <a:solidFill>
                  <a:schemeClr val="bg1"/>
                </a:solidFill>
                <a:latin typeface="Arial" panose="020B0604020202020204" pitchFamily="34" charset="0"/>
                <a:cs typeface="Arial" panose="020B0604020202020204" pitchFamily="34" charset="0"/>
              </a:endParaRPr>
            </a:p>
            <a:p>
              <a:pPr algn="ctr"/>
              <a:r>
                <a:rPr lang="en-US" sz="2800" b="1" kern="0" dirty="0">
                  <a:solidFill>
                    <a:schemeClr val="bg1"/>
                  </a:solidFill>
                  <a:latin typeface="Arial" panose="020B0604020202020204" pitchFamily="34" charset="0"/>
                  <a:cs typeface="Arial" panose="020B0604020202020204" pitchFamily="34" charset="0"/>
                </a:rPr>
                <a:t>Alexander Zlatev</a:t>
              </a:r>
            </a:p>
            <a:p>
              <a:pPr algn="ctr"/>
              <a:r>
                <a:rPr lang="en-US" sz="2000" b="1" kern="0" dirty="0">
                  <a:solidFill>
                    <a:schemeClr val="bg1"/>
                  </a:solidFill>
                  <a:latin typeface="Arial" panose="020B0604020202020204" pitchFamily="34" charset="0"/>
                  <a:cs typeface="Arial" panose="020B0604020202020204" pitchFamily="34" charset="0"/>
                </a:rPr>
                <a:t>(He/Him)</a:t>
              </a:r>
            </a:p>
          </p:txBody>
        </p:sp>
      </p:grpSp>
      <p:sp>
        <p:nvSpPr>
          <p:cNvPr id="23" name="Rectangle 22">
            <a:extLst>
              <a:ext uri="{FF2B5EF4-FFF2-40B4-BE49-F238E27FC236}">
                <a16:creationId xmlns:a16="http://schemas.microsoft.com/office/drawing/2014/main" id="{4BB0865F-C5C1-4F39-B839-491C0C750519}"/>
              </a:ext>
            </a:extLst>
          </p:cNvPr>
          <p:cNvSpPr/>
          <p:nvPr/>
        </p:nvSpPr>
        <p:spPr>
          <a:xfrm>
            <a:off x="1017915" y="672858"/>
            <a:ext cx="3226280" cy="5205425"/>
          </a:xfrm>
          <a:prstGeom prst="rect">
            <a:avLst/>
          </a:prstGeom>
          <a:solidFill>
            <a:srgbClr val="495A70"/>
          </a:solidFill>
          <a:ln w="9525">
            <a:noFill/>
          </a:ln>
          <a:scene3d>
            <a:camera prst="perspective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2880" tIns="73152" rIns="91440" bIns="73152" rtlCol="0" anchor="ctr"/>
          <a:lstStyle/>
          <a:p>
            <a:pPr>
              <a:spcAft>
                <a:spcPts val="600"/>
              </a:spcAft>
            </a:pPr>
            <a:r>
              <a:rPr lang="en-US" sz="1200" kern="0" dirty="0">
                <a:solidFill>
                  <a:schemeClr val="bg1"/>
                </a:solidFill>
                <a:latin typeface="Arial" panose="020B0604020202020204" pitchFamily="34" charset="0"/>
                <a:cs typeface="Arial" panose="020B0604020202020204" pitchFamily="34" charset="0"/>
              </a:rPr>
              <a:t>Salutations, potential voter.</a:t>
            </a:r>
          </a:p>
          <a:p>
            <a:pPr>
              <a:spcAft>
                <a:spcPts val="600"/>
              </a:spcAft>
            </a:pPr>
            <a:r>
              <a:rPr lang="en-US" sz="1200" kern="0" dirty="0">
                <a:solidFill>
                  <a:schemeClr val="bg1"/>
                </a:solidFill>
                <a:latin typeface="Arial" panose="020B0604020202020204" pitchFamily="34" charset="0"/>
                <a:cs typeface="Arial" panose="020B0604020202020204" pitchFamily="34" charset="0"/>
              </a:rPr>
              <a:t>My name is Alexander Zlatev. I was born in a small town next to the Black Sea, in Bulgaria. I moved to England in 2018 and after a year, we moved to Scotland. My native tongue is Bulgarian, evidently I speak English and I am learning French at the moment. Good tea and cat memes are the way to my heart. In my free time, I usually read, sleep or complain. I also used to draw before I gave it up due to my insecurity. I am a Scorpio meaning that I am expecting a “Happy Birthday” from everyone in November. I am either extremely extroverted or extremely introverted. I am also a man of order although my digital footprint suggests otherwise. I cannot define myself politically with a single word because recently my views have been changing, however what I can ensure is that I have the PEOPLE’s best interest at heart. </a:t>
            </a:r>
            <a:endParaRPr lang="en-US" sz="1200" kern="0" dirty="0">
              <a:solidFill>
                <a:schemeClr val="tx1"/>
              </a:solidFill>
              <a:latin typeface="Segoe UI Light" panose="020B0502040204020203" pitchFamily="34" charset="0"/>
              <a:cs typeface="Segoe UI Light" panose="020B0502040204020203" pitchFamily="34" charset="0"/>
            </a:endParaRPr>
          </a:p>
          <a:p>
            <a:pPr>
              <a:spcAft>
                <a:spcPts val="600"/>
              </a:spcAft>
            </a:pPr>
            <a:endParaRPr lang="en-US" sz="1400" kern="0" dirty="0">
              <a:solidFill>
                <a:schemeClr val="tx1"/>
              </a:solidFill>
            </a:endParaRPr>
          </a:p>
        </p:txBody>
      </p:sp>
      <p:sp>
        <p:nvSpPr>
          <p:cNvPr id="29" name="Rectangle 28">
            <a:extLst>
              <a:ext uri="{FF2B5EF4-FFF2-40B4-BE49-F238E27FC236}">
                <a16:creationId xmlns:a16="http://schemas.microsoft.com/office/drawing/2014/main" id="{0CB505F4-64BE-46EF-899E-978D23BF1A5B}"/>
              </a:ext>
            </a:extLst>
          </p:cNvPr>
          <p:cNvSpPr/>
          <p:nvPr/>
        </p:nvSpPr>
        <p:spPr>
          <a:xfrm>
            <a:off x="7947802" y="672860"/>
            <a:ext cx="3226280" cy="5205425"/>
          </a:xfrm>
          <a:prstGeom prst="rect">
            <a:avLst/>
          </a:prstGeom>
          <a:solidFill>
            <a:srgbClr val="44546A"/>
          </a:solidFill>
          <a:ln w="9525">
            <a:noFill/>
          </a:ln>
          <a:scene3d>
            <a:camera prst="perspective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spcAft>
                <a:spcPts val="600"/>
              </a:spcAft>
            </a:pPr>
            <a:r>
              <a:rPr lang="en-US" sz="1200" kern="0" dirty="0">
                <a:solidFill>
                  <a:schemeClr val="bg1"/>
                </a:solidFill>
                <a:latin typeface="Arial" panose="020B0604020202020204" pitchFamily="34" charset="0"/>
                <a:cs typeface="Arial" panose="020B0604020202020204" pitchFamily="34" charset="0"/>
              </a:rPr>
              <a:t>This is Uno, as the name suggests she is my first cat. (I was young, don’t laugh). She is five years old and her zodiac sign is Pisces. Her </a:t>
            </a:r>
            <a:r>
              <a:rPr lang="en-US" sz="1200" kern="0" dirty="0" err="1">
                <a:solidFill>
                  <a:schemeClr val="bg1"/>
                </a:solidFill>
                <a:latin typeface="Arial" panose="020B0604020202020204" pitchFamily="34" charset="0"/>
                <a:cs typeface="Arial" panose="020B0604020202020204" pitchFamily="34" charset="0"/>
              </a:rPr>
              <a:t>favourite</a:t>
            </a:r>
            <a:r>
              <a:rPr lang="en-US" sz="1200" kern="0" dirty="0">
                <a:solidFill>
                  <a:schemeClr val="bg1"/>
                </a:solidFill>
                <a:latin typeface="Arial" panose="020B0604020202020204" pitchFamily="34" charset="0"/>
                <a:cs typeface="Arial" panose="020B0604020202020204" pitchFamily="34" charset="0"/>
              </a:rPr>
              <a:t> hobbies are scratching the furniture, hissing at the seagulls outside and waking up at 3AM to bite my legs and wreak havoc. She loves losing toys, especially balls. Her overall count is 15 lost balls. She doesn’t like fish, and unfortunately she mainly eats packaged cat food which makes her obese but she just refuses to eat anything else. She hates going to the vet and loves biting him. Unlike my calm self, she is a vicious creature born of pure spite but regardless we love her. She is awfully clumsy and extremely vengeful just like me. </a:t>
            </a:r>
          </a:p>
          <a:p>
            <a:pPr>
              <a:spcAft>
                <a:spcPts val="600"/>
              </a:spcAft>
            </a:pPr>
            <a:r>
              <a:rPr lang="en-US" sz="1200" kern="0" dirty="0">
                <a:solidFill>
                  <a:schemeClr val="bg1"/>
                </a:solidFill>
                <a:latin typeface="Arial" panose="020B0604020202020204" pitchFamily="34" charset="0"/>
                <a:cs typeface="Arial" panose="020B0604020202020204" pitchFamily="34" charset="0"/>
              </a:rPr>
              <a:t>Currently she lives at my grandmother’s cat sanctuary as we were unable to take her due to her cowardly nature. </a:t>
            </a:r>
          </a:p>
        </p:txBody>
      </p:sp>
      <p:grpSp>
        <p:nvGrpSpPr>
          <p:cNvPr id="24" name="Group 23">
            <a:extLst>
              <a:ext uri="{FF2B5EF4-FFF2-40B4-BE49-F238E27FC236}">
                <a16:creationId xmlns:a16="http://schemas.microsoft.com/office/drawing/2014/main" id="{E40C678B-9EF9-436D-9841-B28DB63B41C5}"/>
              </a:ext>
            </a:extLst>
          </p:cNvPr>
          <p:cNvGrpSpPr/>
          <p:nvPr/>
        </p:nvGrpSpPr>
        <p:grpSpPr>
          <a:xfrm>
            <a:off x="7947798" y="672858"/>
            <a:ext cx="3226280" cy="5205425"/>
            <a:chOff x="7947802" y="672860"/>
            <a:chExt cx="3226280" cy="5205425"/>
          </a:xfrm>
          <a:scene3d>
            <a:camera prst="perspectiveFront">
              <a:rot lat="0" lon="21594000" rev="0"/>
            </a:camera>
            <a:lightRig rig="threePt" dir="t"/>
          </a:scene3d>
        </p:grpSpPr>
        <p:pic>
          <p:nvPicPr>
            <p:cNvPr id="25" name="Picture 24">
              <a:extLst>
                <a:ext uri="{FF2B5EF4-FFF2-40B4-BE49-F238E27FC236}">
                  <a16:creationId xmlns:a16="http://schemas.microsoft.com/office/drawing/2014/main" id="{D4F374A8-665D-453D-AD1F-788F61D5DB1F}"/>
                </a:ext>
              </a:extLst>
            </p:cNvPr>
            <p:cNvPicPr>
              <a:picLocks noChangeAspect="1"/>
            </p:cNvPicPr>
            <p:nvPr/>
          </p:nvPicPr>
          <p:blipFill>
            <a:blip r:embed="rId6">
              <a:extLst>
                <a:ext uri="{28A0092B-C50C-407E-A947-70E740481C1C}">
                  <a14:useLocalDpi xmlns:a14="http://schemas.microsoft.com/office/drawing/2010/main" val="0"/>
                </a:ext>
              </a:extLst>
            </a:blip>
            <a:srcRect l="16349" r="16349"/>
            <a:stretch/>
          </p:blipFill>
          <p:spPr>
            <a:xfrm>
              <a:off x="7947802" y="672860"/>
              <a:ext cx="3226280" cy="4160397"/>
            </a:xfrm>
            <a:prstGeom prst="rect">
              <a:avLst/>
            </a:prstGeom>
            <a:effectLst>
              <a:innerShdw blurRad="63500" dist="50800" dir="8100000">
                <a:prstClr val="black">
                  <a:alpha val="50000"/>
                </a:prstClr>
              </a:innerShdw>
            </a:effectLst>
          </p:spPr>
        </p:pic>
        <p:sp>
          <p:nvSpPr>
            <p:cNvPr id="28" name="Rectangle 27">
              <a:extLst>
                <a:ext uri="{FF2B5EF4-FFF2-40B4-BE49-F238E27FC236}">
                  <a16:creationId xmlns:a16="http://schemas.microsoft.com/office/drawing/2014/main" id="{EADBFFDA-ECAA-4F41-A8FD-AFE5A3B6D9E7}"/>
                </a:ext>
              </a:extLst>
            </p:cNvPr>
            <p:cNvSpPr/>
            <p:nvPr/>
          </p:nvSpPr>
          <p:spPr>
            <a:xfrm>
              <a:off x="7947803" y="4833257"/>
              <a:ext cx="3226279" cy="1045028"/>
            </a:xfrm>
            <a:prstGeom prst="rect">
              <a:avLst/>
            </a:prstGeom>
            <a:solidFill>
              <a:srgbClr val="44546A"/>
            </a:solidFill>
            <a:ln w="9525">
              <a:solidFill>
                <a:srgbClr val="1A1D2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b" anchorCtr="0" forceAA="0" compatLnSpc="1">
              <a:prstTxWarp prst="textNoShape">
                <a:avLst/>
              </a:prstTxWarp>
              <a:noAutofit/>
            </a:bodyPr>
            <a:lstStyle/>
            <a:p>
              <a:pPr algn="ctr"/>
              <a:r>
                <a:rPr lang="en-US" sz="2800" b="1" kern="0" dirty="0">
                  <a:solidFill>
                    <a:schemeClr val="bg1"/>
                  </a:solidFill>
                  <a:latin typeface="Arial" panose="020B0604020202020204" pitchFamily="34" charset="0"/>
                  <a:cs typeface="Arial" panose="020B0604020202020204" pitchFamily="34" charset="0"/>
                </a:rPr>
                <a:t>My Cat(Uno</a:t>
              </a:r>
              <a:r>
                <a:rPr lang="en-US" sz="2000" b="1" kern="0" dirty="0">
                  <a:solidFill>
                    <a:schemeClr val="bg1"/>
                  </a:solidFill>
                  <a:latin typeface="Arial" panose="020B0604020202020204" pitchFamily="34" charset="0"/>
                  <a:cs typeface="Arial" panose="020B0604020202020204" pitchFamily="34" charset="0"/>
                </a:rPr>
                <a:t>)</a:t>
              </a:r>
            </a:p>
            <a:p>
              <a:pPr algn="ctr"/>
              <a:r>
                <a:rPr lang="en-US" sz="2000" b="1" kern="0" dirty="0">
                  <a:solidFill>
                    <a:schemeClr val="bg1"/>
                  </a:solidFill>
                  <a:latin typeface="Arial" panose="020B0604020202020204" pitchFamily="34" charset="0"/>
                  <a:cs typeface="Arial" panose="020B0604020202020204" pitchFamily="34" charset="0"/>
                </a:rPr>
                <a:t>(She/Her)</a:t>
              </a:r>
            </a:p>
          </p:txBody>
        </p:sp>
      </p:grpSp>
    </p:spTree>
    <p:extLst>
      <p:ext uri="{BB962C8B-B14F-4D97-AF65-F5344CB8AC3E}">
        <p14:creationId xmlns:p14="http://schemas.microsoft.com/office/powerpoint/2010/main" val="256787068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A792779-4D21-4D36-9603-095E37A13AD8}"/>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17" name="Object 16" hidden="1">
            <a:extLst>
              <a:ext uri="{FF2B5EF4-FFF2-40B4-BE49-F238E27FC236}">
                <a16:creationId xmlns:a16="http://schemas.microsoft.com/office/drawing/2014/main" id="{87A43735-9FC0-4C73-ACE7-5B07392077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87A43735-9FC0-4C73-ACE7-5B0739207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CCD39019-0E60-4CB6-B79B-8841A1A2835D}"/>
              </a:ext>
            </a:extLst>
          </p:cNvPr>
          <p:cNvSpPr/>
          <p:nvPr/>
        </p:nvSpPr>
        <p:spPr>
          <a:xfrm>
            <a:off x="7947802" y="672860"/>
            <a:ext cx="3226280" cy="5205425"/>
          </a:xfrm>
          <a:prstGeom prst="rect">
            <a:avLst/>
          </a:prstGeom>
          <a:solidFill>
            <a:srgbClr val="44546A"/>
          </a:solidFill>
          <a:ln w="9525">
            <a:noFill/>
          </a:ln>
          <a:scene3d>
            <a:camera prst="perspective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spcAft>
                <a:spcPts val="600"/>
              </a:spcAft>
            </a:pPr>
            <a:r>
              <a:rPr lang="en-US" sz="1200" kern="0" dirty="0">
                <a:solidFill>
                  <a:schemeClr val="bg1"/>
                </a:solidFill>
                <a:latin typeface="Arial" panose="020B0604020202020204" pitchFamily="34" charset="0"/>
                <a:cs typeface="Arial" panose="020B0604020202020204" pitchFamily="34" charset="0"/>
              </a:rPr>
              <a:t>This is Uno, as the name suggests she is my first cat. (I was young, don’t laugh). She is five years old and her zodiac sign is Pisces. Her </a:t>
            </a:r>
            <a:r>
              <a:rPr lang="en-US" sz="1200" kern="0" dirty="0" err="1">
                <a:solidFill>
                  <a:schemeClr val="bg1"/>
                </a:solidFill>
                <a:latin typeface="Arial" panose="020B0604020202020204" pitchFamily="34" charset="0"/>
                <a:cs typeface="Arial" panose="020B0604020202020204" pitchFamily="34" charset="0"/>
              </a:rPr>
              <a:t>favourite</a:t>
            </a:r>
            <a:r>
              <a:rPr lang="en-US" sz="1200" kern="0" dirty="0">
                <a:solidFill>
                  <a:schemeClr val="bg1"/>
                </a:solidFill>
                <a:latin typeface="Arial" panose="020B0604020202020204" pitchFamily="34" charset="0"/>
                <a:cs typeface="Arial" panose="020B0604020202020204" pitchFamily="34" charset="0"/>
              </a:rPr>
              <a:t> hobbies are scratching the furniture, hissing at the seagulls outside and waking up at 3AM to bite my legs and wreak havoc. She loves losing toys, especially balls. Her overall count is 15 lost balls. She doesn’t like fish, and unfortunately she mainly eats packaged cat food which makes her obese but she just refuses to eat anything else. She hates going to the vet and loves biting him. Unlike my calm self, she is a vicious creature born of pure spite but regardless we love her. She is awfully clumsy and extremely vengeful just like me. </a:t>
            </a:r>
          </a:p>
          <a:p>
            <a:pPr>
              <a:spcAft>
                <a:spcPts val="600"/>
              </a:spcAft>
            </a:pPr>
            <a:r>
              <a:rPr lang="en-US" sz="1200" kern="0" dirty="0">
                <a:solidFill>
                  <a:schemeClr val="bg1"/>
                </a:solidFill>
                <a:latin typeface="Arial" panose="020B0604020202020204" pitchFamily="34" charset="0"/>
                <a:cs typeface="Arial" panose="020B0604020202020204" pitchFamily="34" charset="0"/>
              </a:rPr>
              <a:t>Currently she lives at my grandmother’s cat sanctuary as we were unable to take her due to her cowardly nature. </a:t>
            </a:r>
          </a:p>
        </p:txBody>
      </p:sp>
      <p:grpSp>
        <p:nvGrpSpPr>
          <p:cNvPr id="26" name="Group 25">
            <a:extLst>
              <a:ext uri="{FF2B5EF4-FFF2-40B4-BE49-F238E27FC236}">
                <a16:creationId xmlns:a16="http://schemas.microsoft.com/office/drawing/2014/main" id="{827AE816-92A5-4825-930E-38CFA98A89CD}"/>
              </a:ext>
            </a:extLst>
          </p:cNvPr>
          <p:cNvGrpSpPr/>
          <p:nvPr/>
        </p:nvGrpSpPr>
        <p:grpSpPr>
          <a:xfrm>
            <a:off x="7947802" y="672858"/>
            <a:ext cx="3226280" cy="5205425"/>
            <a:chOff x="7947802" y="672860"/>
            <a:chExt cx="3226280" cy="5205425"/>
          </a:xfrm>
          <a:scene3d>
            <a:camera prst="perspectiveFront">
              <a:rot lat="0" lon="21594000" rev="0"/>
            </a:camera>
            <a:lightRig rig="threePt" dir="t"/>
          </a:scene3d>
        </p:grpSpPr>
        <p:pic>
          <p:nvPicPr>
            <p:cNvPr id="14" name="Picture 13">
              <a:extLst>
                <a:ext uri="{FF2B5EF4-FFF2-40B4-BE49-F238E27FC236}">
                  <a16:creationId xmlns:a16="http://schemas.microsoft.com/office/drawing/2014/main" id="{6DB2749A-60E1-4E39-B731-EB0DA33B0746}"/>
                </a:ext>
              </a:extLst>
            </p:cNvPr>
            <p:cNvPicPr>
              <a:picLocks noChangeAspect="1"/>
            </p:cNvPicPr>
            <p:nvPr/>
          </p:nvPicPr>
          <p:blipFill>
            <a:blip r:embed="rId5">
              <a:extLst>
                <a:ext uri="{28A0092B-C50C-407E-A947-70E740481C1C}">
                  <a14:useLocalDpi xmlns:a14="http://schemas.microsoft.com/office/drawing/2010/main" val="0"/>
                </a:ext>
              </a:extLst>
            </a:blip>
            <a:srcRect l="16349" r="16349"/>
            <a:stretch/>
          </p:blipFill>
          <p:spPr>
            <a:xfrm>
              <a:off x="7947802" y="672860"/>
              <a:ext cx="3226280" cy="4160397"/>
            </a:xfrm>
            <a:prstGeom prst="rect">
              <a:avLst/>
            </a:prstGeom>
            <a:effectLst>
              <a:innerShdw blurRad="63500" dist="50800" dir="8100000">
                <a:prstClr val="black">
                  <a:alpha val="50000"/>
                </a:prstClr>
              </a:innerShdw>
            </a:effectLst>
          </p:spPr>
        </p:pic>
        <p:sp>
          <p:nvSpPr>
            <p:cNvPr id="8" name="Rectangle 7">
              <a:extLst>
                <a:ext uri="{FF2B5EF4-FFF2-40B4-BE49-F238E27FC236}">
                  <a16:creationId xmlns:a16="http://schemas.microsoft.com/office/drawing/2014/main" id="{2AA247E9-8626-4210-B451-2DB485D2C28D}"/>
                </a:ext>
              </a:extLst>
            </p:cNvPr>
            <p:cNvSpPr/>
            <p:nvPr/>
          </p:nvSpPr>
          <p:spPr>
            <a:xfrm>
              <a:off x="7947803" y="4833257"/>
              <a:ext cx="3226279" cy="1045028"/>
            </a:xfrm>
            <a:prstGeom prst="rect">
              <a:avLst/>
            </a:prstGeom>
            <a:solidFill>
              <a:srgbClr val="44546A"/>
            </a:solidFill>
            <a:ln w="9525">
              <a:solidFill>
                <a:srgbClr val="1A1D2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b" anchorCtr="0" forceAA="0" compatLnSpc="1">
              <a:prstTxWarp prst="textNoShape">
                <a:avLst/>
              </a:prstTxWarp>
              <a:noAutofit/>
            </a:bodyPr>
            <a:lstStyle/>
            <a:p>
              <a:pPr algn="ctr"/>
              <a:r>
                <a:rPr lang="en-US" sz="2800" b="1" kern="0" dirty="0">
                  <a:solidFill>
                    <a:schemeClr val="bg1"/>
                  </a:solidFill>
                  <a:latin typeface="Arial" panose="020B0604020202020204" pitchFamily="34" charset="0"/>
                  <a:cs typeface="Arial" panose="020B0604020202020204" pitchFamily="34" charset="0"/>
                </a:rPr>
                <a:t>My Cat(Uno</a:t>
              </a:r>
              <a:r>
                <a:rPr lang="en-US" sz="2000" b="1" kern="0" dirty="0">
                  <a:solidFill>
                    <a:schemeClr val="bg1"/>
                  </a:solidFill>
                  <a:latin typeface="Arial" panose="020B0604020202020204" pitchFamily="34" charset="0"/>
                  <a:cs typeface="Arial" panose="020B0604020202020204" pitchFamily="34" charset="0"/>
                </a:rPr>
                <a:t>)</a:t>
              </a:r>
            </a:p>
            <a:p>
              <a:pPr algn="ctr"/>
              <a:r>
                <a:rPr lang="en-US" sz="2000" b="1" kern="0" dirty="0">
                  <a:solidFill>
                    <a:schemeClr val="bg1"/>
                  </a:solidFill>
                  <a:latin typeface="Arial" panose="020B0604020202020204" pitchFamily="34" charset="0"/>
                  <a:cs typeface="Arial" panose="020B0604020202020204" pitchFamily="34" charset="0"/>
                </a:rPr>
                <a:t>(She/Her)</a:t>
              </a:r>
            </a:p>
          </p:txBody>
        </p:sp>
      </p:grpSp>
      <p:sp>
        <p:nvSpPr>
          <p:cNvPr id="18" name="Rectangle 17">
            <a:extLst>
              <a:ext uri="{FF2B5EF4-FFF2-40B4-BE49-F238E27FC236}">
                <a16:creationId xmlns:a16="http://schemas.microsoft.com/office/drawing/2014/main" id="{6C4A25E1-6C68-4B30-8B9F-445CD4C20300}"/>
              </a:ext>
            </a:extLst>
          </p:cNvPr>
          <p:cNvSpPr/>
          <p:nvPr/>
        </p:nvSpPr>
        <p:spPr>
          <a:xfrm>
            <a:off x="1017914" y="672860"/>
            <a:ext cx="3226280" cy="5205425"/>
          </a:xfrm>
          <a:prstGeom prst="rect">
            <a:avLst/>
          </a:prstGeom>
          <a:solidFill>
            <a:srgbClr val="495A70"/>
          </a:solidFill>
          <a:ln w="9525">
            <a:noFill/>
          </a:ln>
          <a:scene3d>
            <a:camera prst="perspective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spcAft>
                <a:spcPts val="600"/>
              </a:spcAft>
            </a:pPr>
            <a:r>
              <a:rPr lang="en-US" sz="1200" kern="0" dirty="0">
                <a:solidFill>
                  <a:schemeClr val="bg1"/>
                </a:solidFill>
                <a:latin typeface="Arial" panose="020B0604020202020204" pitchFamily="34" charset="0"/>
                <a:cs typeface="Arial" panose="020B0604020202020204" pitchFamily="34" charset="0"/>
              </a:rPr>
              <a:t>Salutations, potential voter.</a:t>
            </a:r>
          </a:p>
          <a:p>
            <a:pPr>
              <a:spcAft>
                <a:spcPts val="600"/>
              </a:spcAft>
            </a:pPr>
            <a:r>
              <a:rPr lang="en-US" sz="1200" kern="0" dirty="0">
                <a:solidFill>
                  <a:schemeClr val="bg1"/>
                </a:solidFill>
                <a:latin typeface="Arial" panose="020B0604020202020204" pitchFamily="34" charset="0"/>
                <a:cs typeface="Arial" panose="020B0604020202020204" pitchFamily="34" charset="0"/>
              </a:rPr>
              <a:t>My name is Alexander Zlatev. I was born in a small town next to the Black Sea, in Bulgaria. My native tongue is Bulgarian, evidently I speak English and I am learning French at the moment. Good tea and cat memes are the way to my heart. In my free time, I usually read, sleep or complain. I also used to draw before I gave it up due to my insecurity. I am a Scorpio meaning that I am expecting a “Happy Birthday” from everyone in November. I am either extremely extroverted or extremely introverted. I am also a man of order although my digital footprint suggests otherwise. I cannot define myself politically with a single word because recently my views have been changing, however what I can ensure is that I have the PEOPLE’s best interest at heart. </a:t>
            </a:r>
            <a:endParaRPr lang="en-US" sz="1200" kern="0" dirty="0">
              <a:solidFill>
                <a:schemeClr val="tx1"/>
              </a:solidFill>
              <a:latin typeface="Segoe UI Light" panose="020B0502040204020203" pitchFamily="34" charset="0"/>
              <a:cs typeface="Segoe UI Light" panose="020B0502040204020203" pitchFamily="34" charset="0"/>
            </a:endParaRPr>
          </a:p>
          <a:p>
            <a:pPr>
              <a:spcAft>
                <a:spcPts val="600"/>
              </a:spcAft>
            </a:pPr>
            <a:endParaRPr lang="en-US" sz="1050" kern="0" dirty="0">
              <a:solidFill>
                <a:schemeClr val="tx1"/>
              </a:solidFill>
            </a:endParaRPr>
          </a:p>
        </p:txBody>
      </p:sp>
      <p:grpSp>
        <p:nvGrpSpPr>
          <p:cNvPr id="22" name="Group 21">
            <a:extLst>
              <a:ext uri="{FF2B5EF4-FFF2-40B4-BE49-F238E27FC236}">
                <a16:creationId xmlns:a16="http://schemas.microsoft.com/office/drawing/2014/main" id="{B52E9CD2-F193-49C0-AA00-49D367BCF8D6}"/>
              </a:ext>
            </a:extLst>
          </p:cNvPr>
          <p:cNvGrpSpPr/>
          <p:nvPr/>
        </p:nvGrpSpPr>
        <p:grpSpPr>
          <a:xfrm>
            <a:off x="1017913" y="672859"/>
            <a:ext cx="3226279" cy="5205424"/>
            <a:chOff x="1017917" y="672861"/>
            <a:chExt cx="3226279" cy="5205424"/>
          </a:xfrm>
          <a:scene3d>
            <a:camera prst="perspectiveFront">
              <a:rot lat="0" lon="21594000" rev="0"/>
            </a:camera>
            <a:lightRig rig="threePt" dir="t"/>
          </a:scene3d>
        </p:grpSpPr>
        <p:pic>
          <p:nvPicPr>
            <p:cNvPr id="10" name="Picture 9">
              <a:extLst>
                <a:ext uri="{FF2B5EF4-FFF2-40B4-BE49-F238E27FC236}">
                  <a16:creationId xmlns:a16="http://schemas.microsoft.com/office/drawing/2014/main" id="{52377E33-1039-4969-B625-409BE72EFF28}"/>
                </a:ext>
              </a:extLst>
            </p:cNvPr>
            <p:cNvPicPr>
              <a:picLocks noChangeAspect="1"/>
            </p:cNvPicPr>
            <p:nvPr/>
          </p:nvPicPr>
          <p:blipFill>
            <a:blip r:embed="rId6">
              <a:extLst>
                <a:ext uri="{28A0092B-C50C-407E-A947-70E740481C1C}">
                  <a14:useLocalDpi xmlns:a14="http://schemas.microsoft.com/office/drawing/2010/main" val="0"/>
                </a:ext>
              </a:extLst>
            </a:blip>
            <a:srcRect l="432" r="432"/>
            <a:stretch/>
          </p:blipFill>
          <p:spPr>
            <a:xfrm>
              <a:off x="1017917" y="672861"/>
              <a:ext cx="3226277" cy="4160396"/>
            </a:xfrm>
            <a:prstGeom prst="rect">
              <a:avLst/>
            </a:prstGeom>
            <a:effectLst>
              <a:innerShdw blurRad="63500" dist="50800" dir="8100000">
                <a:prstClr val="black">
                  <a:alpha val="50000"/>
                </a:prstClr>
              </a:innerShdw>
            </a:effectLst>
          </p:spPr>
        </p:pic>
        <p:sp>
          <p:nvSpPr>
            <p:cNvPr id="6" name="Rectangle 5">
              <a:extLst>
                <a:ext uri="{FF2B5EF4-FFF2-40B4-BE49-F238E27FC236}">
                  <a16:creationId xmlns:a16="http://schemas.microsoft.com/office/drawing/2014/main" id="{9F705935-BCC5-4ECD-9A6B-DA9366FC9983}"/>
                </a:ext>
              </a:extLst>
            </p:cNvPr>
            <p:cNvSpPr/>
            <p:nvPr/>
          </p:nvSpPr>
          <p:spPr>
            <a:xfrm>
              <a:off x="1017917" y="4833257"/>
              <a:ext cx="3226279" cy="1045028"/>
            </a:xfrm>
            <a:prstGeom prst="rect">
              <a:avLst/>
            </a:prstGeom>
            <a:solidFill>
              <a:srgbClr val="495A70"/>
            </a:solidFill>
            <a:ln w="9525">
              <a:solidFill>
                <a:srgbClr val="1A1D24"/>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b"/>
            <a:lstStyle/>
            <a:p>
              <a:pPr algn="ctr"/>
              <a:r>
                <a:rPr lang="en-US" sz="2800" b="1" kern="0" dirty="0">
                  <a:solidFill>
                    <a:schemeClr val="bg1"/>
                  </a:solidFill>
                  <a:latin typeface="Arial" panose="020B0604020202020204" pitchFamily="34" charset="0"/>
                  <a:cs typeface="Arial" panose="020B0604020202020204" pitchFamily="34" charset="0"/>
                </a:rPr>
                <a:t>Alexander Zlatev</a:t>
              </a:r>
            </a:p>
            <a:p>
              <a:pPr algn="ctr"/>
              <a:r>
                <a:rPr lang="en-US" sz="2000" b="1" kern="0" dirty="0">
                  <a:solidFill>
                    <a:schemeClr val="bg1"/>
                  </a:solidFill>
                  <a:latin typeface="Arial" panose="020B0604020202020204" pitchFamily="34" charset="0"/>
                  <a:cs typeface="Arial" panose="020B0604020202020204" pitchFamily="34" charset="0"/>
                </a:rPr>
                <a:t>(He/Him) </a:t>
              </a:r>
            </a:p>
          </p:txBody>
        </p:sp>
      </p:grpSp>
    </p:spTree>
    <p:extLst>
      <p:ext uri="{BB962C8B-B14F-4D97-AF65-F5344CB8AC3E}">
        <p14:creationId xmlns:p14="http://schemas.microsoft.com/office/powerpoint/2010/main" val="11578689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C638837C-6733-4B87-AF99-4113D1DB69B1}"/>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17" name="Object 16" hidden="1">
            <a:extLst>
              <a:ext uri="{FF2B5EF4-FFF2-40B4-BE49-F238E27FC236}">
                <a16:creationId xmlns:a16="http://schemas.microsoft.com/office/drawing/2014/main" id="{87A43735-9FC0-4C73-ACE7-5B07392077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7" name="Object 16" hidden="1">
                        <a:extLst>
                          <a:ext uri="{FF2B5EF4-FFF2-40B4-BE49-F238E27FC236}">
                            <a16:creationId xmlns:a16="http://schemas.microsoft.com/office/drawing/2014/main" id="{87A43735-9FC0-4C73-ACE7-5B07392077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6" name="Group 25">
            <a:extLst>
              <a:ext uri="{FF2B5EF4-FFF2-40B4-BE49-F238E27FC236}">
                <a16:creationId xmlns:a16="http://schemas.microsoft.com/office/drawing/2014/main" id="{827AE816-92A5-4825-930E-38CFA98A89CD}"/>
              </a:ext>
            </a:extLst>
          </p:cNvPr>
          <p:cNvGrpSpPr/>
          <p:nvPr/>
        </p:nvGrpSpPr>
        <p:grpSpPr>
          <a:xfrm>
            <a:off x="7947802" y="672860"/>
            <a:ext cx="3226280" cy="5205425"/>
            <a:chOff x="7947802" y="672860"/>
            <a:chExt cx="3226280" cy="5205425"/>
          </a:xfrm>
          <a:scene3d>
            <a:camera prst="perspectiveFront">
              <a:rot lat="0" lon="10800000" rev="0"/>
            </a:camera>
            <a:lightRig rig="threePt" dir="t"/>
          </a:scene3d>
        </p:grpSpPr>
        <p:pic>
          <p:nvPicPr>
            <p:cNvPr id="14" name="Picture 13">
              <a:extLst>
                <a:ext uri="{FF2B5EF4-FFF2-40B4-BE49-F238E27FC236}">
                  <a16:creationId xmlns:a16="http://schemas.microsoft.com/office/drawing/2014/main" id="{6DB2749A-60E1-4E39-B731-EB0DA33B0746}"/>
                </a:ext>
              </a:extLst>
            </p:cNvPr>
            <p:cNvPicPr>
              <a:picLocks noChangeAspect="1"/>
            </p:cNvPicPr>
            <p:nvPr/>
          </p:nvPicPr>
          <p:blipFill>
            <a:blip r:embed="rId6">
              <a:extLst>
                <a:ext uri="{28A0092B-C50C-407E-A947-70E740481C1C}">
                  <a14:useLocalDpi xmlns:a14="http://schemas.microsoft.com/office/drawing/2010/main" val="0"/>
                </a:ext>
              </a:extLst>
            </a:blip>
            <a:srcRect l="16349" r="16349"/>
            <a:stretch/>
          </p:blipFill>
          <p:spPr>
            <a:xfrm>
              <a:off x="7947802" y="672860"/>
              <a:ext cx="3226280" cy="4160397"/>
            </a:xfrm>
            <a:prstGeom prst="rect">
              <a:avLst/>
            </a:prstGeom>
            <a:effectLst>
              <a:innerShdw blurRad="63500" dist="50800" dir="8100000">
                <a:prstClr val="black">
                  <a:alpha val="50000"/>
                </a:prstClr>
              </a:innerShdw>
            </a:effectLst>
          </p:spPr>
        </p:pic>
        <p:sp>
          <p:nvSpPr>
            <p:cNvPr id="8" name="Rectangle 7">
              <a:extLst>
                <a:ext uri="{FF2B5EF4-FFF2-40B4-BE49-F238E27FC236}">
                  <a16:creationId xmlns:a16="http://schemas.microsoft.com/office/drawing/2014/main" id="{2AA247E9-8626-4210-B451-2DB485D2C28D}"/>
                </a:ext>
              </a:extLst>
            </p:cNvPr>
            <p:cNvSpPr/>
            <p:nvPr/>
          </p:nvSpPr>
          <p:spPr>
            <a:xfrm>
              <a:off x="7947803" y="4833257"/>
              <a:ext cx="3226279" cy="1045028"/>
            </a:xfrm>
            <a:prstGeom prst="rect">
              <a:avLst/>
            </a:prstGeom>
            <a:solidFill>
              <a:srgbClr val="44546A"/>
            </a:solidFill>
            <a:ln w="9525">
              <a:solidFill>
                <a:srgbClr val="1A1D2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b" anchorCtr="0" forceAA="0" compatLnSpc="1">
              <a:prstTxWarp prst="textNoShape">
                <a:avLst/>
              </a:prstTxWarp>
              <a:noAutofit/>
            </a:bodyPr>
            <a:lstStyle/>
            <a:p>
              <a:pPr algn="ctr"/>
              <a:r>
                <a:rPr lang="en-US" sz="2800" b="1" kern="0" dirty="0">
                  <a:solidFill>
                    <a:schemeClr val="bg1"/>
                  </a:solidFill>
                  <a:latin typeface="Arial" panose="020B0604020202020204" pitchFamily="34" charset="0"/>
                  <a:cs typeface="Arial" panose="020B0604020202020204" pitchFamily="34" charset="0"/>
                </a:rPr>
                <a:t>My Cat(Uno</a:t>
              </a:r>
              <a:r>
                <a:rPr lang="en-US" sz="2000" b="1" kern="0" dirty="0">
                  <a:solidFill>
                    <a:schemeClr val="bg1"/>
                  </a:solidFill>
                  <a:latin typeface="Arial" panose="020B0604020202020204" pitchFamily="34" charset="0"/>
                  <a:cs typeface="Arial" panose="020B0604020202020204" pitchFamily="34" charset="0"/>
                </a:rPr>
                <a:t>)</a:t>
              </a:r>
            </a:p>
            <a:p>
              <a:pPr algn="ctr"/>
              <a:r>
                <a:rPr lang="en-US" sz="2000" b="1" kern="0" dirty="0">
                  <a:solidFill>
                    <a:schemeClr val="bg1"/>
                  </a:solidFill>
                  <a:latin typeface="Arial" panose="020B0604020202020204" pitchFamily="34" charset="0"/>
                  <a:cs typeface="Arial" panose="020B0604020202020204" pitchFamily="34" charset="0"/>
                </a:rPr>
                <a:t>(She/Her)</a:t>
              </a:r>
            </a:p>
          </p:txBody>
        </p:sp>
      </p:grpSp>
      <p:sp>
        <p:nvSpPr>
          <p:cNvPr id="25" name="Rectangle 24">
            <a:extLst>
              <a:ext uri="{FF2B5EF4-FFF2-40B4-BE49-F238E27FC236}">
                <a16:creationId xmlns:a16="http://schemas.microsoft.com/office/drawing/2014/main" id="{CCD39019-0E60-4CB6-B79B-8841A1A2835D}"/>
              </a:ext>
            </a:extLst>
          </p:cNvPr>
          <p:cNvSpPr/>
          <p:nvPr/>
        </p:nvSpPr>
        <p:spPr>
          <a:xfrm>
            <a:off x="7934524" y="672859"/>
            <a:ext cx="3226280" cy="5205425"/>
          </a:xfrm>
          <a:prstGeom prst="rect">
            <a:avLst/>
          </a:prstGeom>
          <a:solidFill>
            <a:srgbClr val="495A70"/>
          </a:solidFill>
          <a:ln w="9525">
            <a:noFill/>
          </a:ln>
          <a:scene3d>
            <a:camera prst="perspective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73152" rIns="91440" bIns="73152" numCol="1" spcCol="0" rtlCol="0" fromWordArt="0" anchor="ctr" anchorCtr="0" forceAA="0" compatLnSpc="1">
            <a:prstTxWarp prst="textNoShape">
              <a:avLst/>
            </a:prstTxWarp>
            <a:noAutofit/>
          </a:bodyPr>
          <a:lstStyle/>
          <a:p>
            <a:pPr>
              <a:spcAft>
                <a:spcPts val="600"/>
              </a:spcAft>
            </a:pPr>
            <a:r>
              <a:rPr lang="en-US" sz="1200" kern="0" dirty="0">
                <a:solidFill>
                  <a:schemeClr val="bg1"/>
                </a:solidFill>
                <a:latin typeface="Arial" panose="020B0604020202020204" pitchFamily="34" charset="0"/>
                <a:cs typeface="Arial" panose="020B0604020202020204" pitchFamily="34" charset="0"/>
              </a:rPr>
              <a:t>This is Uno, as the name suggests she is my first cat. (I was young, don’t laugh). She is five years old and her zodiac sign is Pisces. Her </a:t>
            </a:r>
            <a:r>
              <a:rPr lang="en-US" sz="1200" kern="0" dirty="0" err="1">
                <a:solidFill>
                  <a:schemeClr val="bg1"/>
                </a:solidFill>
                <a:latin typeface="Arial" panose="020B0604020202020204" pitchFamily="34" charset="0"/>
                <a:cs typeface="Arial" panose="020B0604020202020204" pitchFamily="34" charset="0"/>
              </a:rPr>
              <a:t>favourite</a:t>
            </a:r>
            <a:r>
              <a:rPr lang="en-US" sz="1200" kern="0" dirty="0">
                <a:solidFill>
                  <a:schemeClr val="bg1"/>
                </a:solidFill>
                <a:latin typeface="Arial" panose="020B0604020202020204" pitchFamily="34" charset="0"/>
                <a:cs typeface="Arial" panose="020B0604020202020204" pitchFamily="34" charset="0"/>
              </a:rPr>
              <a:t> hobbies are scratching the furniture, hissing at the seagulls outside and waking up at 3AM to bite my legs and wreak havoc. She loves losing toys, especially balls. Her overall count is 15 lost balls. She doesn’t like fish, and unfortunately she mainly eats packaged cat food which makes her obese but she just refuses to eat anything else. She hates going to the vet and loves biting him. Unlike my calm self, she is a vicious creature born of pure spite but regardless we love her. She is awfully clumsy and extremely vengeful just like me. </a:t>
            </a:r>
          </a:p>
          <a:p>
            <a:pPr>
              <a:spcAft>
                <a:spcPts val="600"/>
              </a:spcAft>
            </a:pPr>
            <a:r>
              <a:rPr lang="en-US" sz="1200" kern="0" dirty="0">
                <a:solidFill>
                  <a:schemeClr val="bg1"/>
                </a:solidFill>
                <a:latin typeface="Arial" panose="020B0604020202020204" pitchFamily="34" charset="0"/>
                <a:cs typeface="Arial" panose="020B0604020202020204" pitchFamily="34" charset="0"/>
              </a:rPr>
              <a:t>Currently she lives at my grandmother’s cat sanctuary as we were unable to take her due to her cowardly nature. </a:t>
            </a:r>
          </a:p>
        </p:txBody>
      </p:sp>
      <p:sp>
        <p:nvSpPr>
          <p:cNvPr id="28" name="Rectangle 27">
            <a:extLst>
              <a:ext uri="{FF2B5EF4-FFF2-40B4-BE49-F238E27FC236}">
                <a16:creationId xmlns:a16="http://schemas.microsoft.com/office/drawing/2014/main" id="{5679387B-673B-4C7F-AF56-436BEFB66EA3}"/>
              </a:ext>
            </a:extLst>
          </p:cNvPr>
          <p:cNvSpPr/>
          <p:nvPr/>
        </p:nvSpPr>
        <p:spPr>
          <a:xfrm>
            <a:off x="1017914" y="672860"/>
            <a:ext cx="3226280" cy="5205425"/>
          </a:xfrm>
          <a:prstGeom prst="rect">
            <a:avLst/>
          </a:prstGeom>
          <a:solidFill>
            <a:srgbClr val="495A70"/>
          </a:solidFill>
          <a:ln w="9525">
            <a:noFill/>
          </a:ln>
          <a:scene3d>
            <a:camera prst="perspective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spcAft>
                <a:spcPts val="600"/>
              </a:spcAft>
            </a:pPr>
            <a:r>
              <a:rPr lang="en-US" sz="1200" kern="0" dirty="0">
                <a:solidFill>
                  <a:schemeClr val="bg1"/>
                </a:solidFill>
                <a:latin typeface="Arial" panose="020B0604020202020204" pitchFamily="34" charset="0"/>
                <a:cs typeface="Arial" panose="020B0604020202020204" pitchFamily="34" charset="0"/>
              </a:rPr>
              <a:t>Salutations, potential voter.</a:t>
            </a:r>
          </a:p>
          <a:p>
            <a:pPr>
              <a:spcAft>
                <a:spcPts val="600"/>
              </a:spcAft>
            </a:pPr>
            <a:r>
              <a:rPr lang="en-US" sz="1200" kern="0" dirty="0">
                <a:solidFill>
                  <a:schemeClr val="bg1"/>
                </a:solidFill>
                <a:latin typeface="Arial" panose="020B0604020202020204" pitchFamily="34" charset="0"/>
                <a:cs typeface="Arial" panose="020B0604020202020204" pitchFamily="34" charset="0"/>
              </a:rPr>
              <a:t>My name is Alexander Zlatev. I was born in a small town next to the Black Sea, in Bulgaria. My native tongue is Bulgarian, evidently I speak English and I am learning French at the moment. Good tea and cat memes are the way to my heart. In my free time, I usually read, sleep or complain. I also used to draw before I gave it up due to my insecurity. I am a Scorpio meaning that I am expecting a “Happy Birthday” from everyone in November. I am either extremely extroverted or extremely introverted. I am also a man of order although my digital footprint suggests otherwise. I cannot define myself politically with a single word because recently my views have been changing, however what I can ensure is that I have the PEOPLE’s best interest at heart. </a:t>
            </a:r>
            <a:endParaRPr lang="en-US" sz="1200" kern="0" dirty="0">
              <a:solidFill>
                <a:schemeClr val="tx1"/>
              </a:solidFill>
              <a:latin typeface="Segoe UI Light" panose="020B0502040204020203" pitchFamily="34" charset="0"/>
              <a:cs typeface="Segoe UI Light" panose="020B0502040204020203" pitchFamily="34" charset="0"/>
            </a:endParaRPr>
          </a:p>
          <a:p>
            <a:pPr>
              <a:spcAft>
                <a:spcPts val="600"/>
              </a:spcAft>
            </a:pPr>
            <a:endParaRPr lang="en-US" sz="1050" kern="0" dirty="0">
              <a:solidFill>
                <a:schemeClr val="tx1"/>
              </a:solidFill>
            </a:endParaRPr>
          </a:p>
        </p:txBody>
      </p:sp>
      <p:grpSp>
        <p:nvGrpSpPr>
          <p:cNvPr id="15" name="Group 14">
            <a:extLst>
              <a:ext uri="{FF2B5EF4-FFF2-40B4-BE49-F238E27FC236}">
                <a16:creationId xmlns:a16="http://schemas.microsoft.com/office/drawing/2014/main" id="{EE548CBD-2DF4-4F0C-8BEF-9FBB7280728E}"/>
              </a:ext>
            </a:extLst>
          </p:cNvPr>
          <p:cNvGrpSpPr/>
          <p:nvPr/>
        </p:nvGrpSpPr>
        <p:grpSpPr>
          <a:xfrm>
            <a:off x="1004636" y="672859"/>
            <a:ext cx="3226279" cy="5205424"/>
            <a:chOff x="1017917" y="672861"/>
            <a:chExt cx="3226279" cy="5205424"/>
          </a:xfrm>
          <a:solidFill>
            <a:srgbClr val="495A70"/>
          </a:solidFill>
          <a:scene3d>
            <a:camera prst="perspectiveFront">
              <a:rot lat="0" lon="21594000" rev="0"/>
            </a:camera>
            <a:lightRig rig="threePt" dir="t"/>
          </a:scene3d>
        </p:grpSpPr>
        <p:pic>
          <p:nvPicPr>
            <p:cNvPr id="22" name="Picture 21">
              <a:extLst>
                <a:ext uri="{FF2B5EF4-FFF2-40B4-BE49-F238E27FC236}">
                  <a16:creationId xmlns:a16="http://schemas.microsoft.com/office/drawing/2014/main" id="{9B801DE1-45B9-4044-BC27-A1065BC1121A}"/>
                </a:ext>
              </a:extLst>
            </p:cNvPr>
            <p:cNvPicPr>
              <a:picLocks noChangeAspect="1"/>
            </p:cNvPicPr>
            <p:nvPr/>
          </p:nvPicPr>
          <p:blipFill>
            <a:blip r:embed="rId7">
              <a:extLst>
                <a:ext uri="{28A0092B-C50C-407E-A947-70E740481C1C}">
                  <a14:useLocalDpi xmlns:a14="http://schemas.microsoft.com/office/drawing/2010/main" val="0"/>
                </a:ext>
              </a:extLst>
            </a:blip>
            <a:srcRect l="432" r="432"/>
            <a:stretch/>
          </p:blipFill>
          <p:spPr>
            <a:xfrm>
              <a:off x="1017917" y="672861"/>
              <a:ext cx="3226277" cy="4160396"/>
            </a:xfrm>
            <a:prstGeom prst="rect">
              <a:avLst/>
            </a:prstGeom>
            <a:grpFill/>
            <a:effectLst>
              <a:innerShdw blurRad="63500" dist="50800" dir="8100000">
                <a:prstClr val="black">
                  <a:alpha val="50000"/>
                </a:prstClr>
              </a:innerShdw>
            </a:effectLst>
          </p:spPr>
        </p:pic>
        <p:sp>
          <p:nvSpPr>
            <p:cNvPr id="23" name="Rectangle 22">
              <a:extLst>
                <a:ext uri="{FF2B5EF4-FFF2-40B4-BE49-F238E27FC236}">
                  <a16:creationId xmlns:a16="http://schemas.microsoft.com/office/drawing/2014/main" id="{B9E98324-A176-4111-A88E-CDA423034FF0}"/>
                </a:ext>
              </a:extLst>
            </p:cNvPr>
            <p:cNvSpPr/>
            <p:nvPr/>
          </p:nvSpPr>
          <p:spPr>
            <a:xfrm>
              <a:off x="1017917" y="4833257"/>
              <a:ext cx="3226279" cy="1045028"/>
            </a:xfrm>
            <a:prstGeom prst="rect">
              <a:avLst/>
            </a:prstGeom>
            <a:grpFill/>
            <a:ln w="9525">
              <a:solidFill>
                <a:srgbClr val="1A1D24"/>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b"/>
            <a:lstStyle/>
            <a:p>
              <a:pPr algn="ctr"/>
              <a:r>
                <a:rPr lang="en-US" sz="2800" b="1" kern="0" dirty="0">
                  <a:solidFill>
                    <a:schemeClr val="bg1"/>
                  </a:solidFill>
                  <a:latin typeface="Arial" panose="020B0604020202020204" pitchFamily="34" charset="0"/>
                  <a:cs typeface="Arial" panose="020B0604020202020204" pitchFamily="34" charset="0"/>
                </a:rPr>
                <a:t>Alexander Zlatev</a:t>
              </a:r>
            </a:p>
            <a:p>
              <a:pPr algn="ctr"/>
              <a:r>
                <a:rPr lang="en-US" sz="2000" b="1" kern="0" dirty="0">
                  <a:solidFill>
                    <a:schemeClr val="bg1"/>
                  </a:solidFill>
                  <a:latin typeface="Arial" panose="020B0604020202020204" pitchFamily="34" charset="0"/>
                  <a:cs typeface="Arial" panose="020B0604020202020204" pitchFamily="34" charset="0"/>
                </a:rPr>
                <a:t>(He/Him)</a:t>
              </a:r>
            </a:p>
          </p:txBody>
        </p:sp>
      </p:grpSp>
    </p:spTree>
    <p:extLst>
      <p:ext uri="{BB962C8B-B14F-4D97-AF65-F5344CB8AC3E}">
        <p14:creationId xmlns:p14="http://schemas.microsoft.com/office/powerpoint/2010/main" val="1701520220"/>
      </p:ext>
    </p:extLst>
  </p:cSld>
  <p:clrMapOvr>
    <a:masterClrMapping/>
  </p:clrMapOvr>
  <mc:AlternateContent xmlns:mc="http://schemas.openxmlformats.org/markup-compatibility/2006" xmlns:p159="http://schemas.microsoft.com/office/powerpoint/2015/09/main">
    <mc:Choice Requires="p159">
      <p:transition advClick="0">
        <p159:morph option="byObject"/>
      </p:transition>
    </mc:Choice>
    <mc:Fallback xmlns="">
      <p:transition advClick="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AB0E9-A649-4579-8381-D4623C7E372C}"/>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52" name="Picture 4" descr="Weights Uneven with solid fill">
            <a:extLst>
              <a:ext uri="{FF2B5EF4-FFF2-40B4-BE49-F238E27FC236}">
                <a16:creationId xmlns:a16="http://schemas.microsoft.com/office/drawing/2014/main" id="{5FC37C10-C1F8-48CF-812A-74FCB1091A20}"/>
              </a:ext>
            </a:extLst>
          </p:cNvPr>
          <p:cNvPicPr>
            <a:picLocks noChangeAspect="1" noChangeArrowheads="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970828" y="1612022"/>
            <a:ext cx="3420000" cy="3420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FA23CBA-73DF-4FC2-9785-1EA6CE93FFC5}"/>
              </a:ext>
            </a:extLst>
          </p:cNvPr>
          <p:cNvSpPr/>
          <p:nvPr/>
        </p:nvSpPr>
        <p:spPr>
          <a:xfrm>
            <a:off x="4459397" y="1523670"/>
            <a:ext cx="5524168" cy="3704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2" name="Rectangle 11">
            <a:extLst>
              <a:ext uri="{FF2B5EF4-FFF2-40B4-BE49-F238E27FC236}">
                <a16:creationId xmlns:a16="http://schemas.microsoft.com/office/drawing/2014/main" id="{BA626E31-1692-4F0B-9726-9CA897A0DBBD}"/>
              </a:ext>
            </a:extLst>
          </p:cNvPr>
          <p:cNvSpPr/>
          <p:nvPr/>
        </p:nvSpPr>
        <p:spPr>
          <a:xfrm>
            <a:off x="4670734" y="1311442"/>
            <a:ext cx="7521266" cy="4022888"/>
          </a:xfrm>
          <a:prstGeom prst="rect">
            <a:avLst/>
          </a:prstGeom>
          <a:solidFill>
            <a:srgbClr val="21212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13" name="TextBox 12">
            <a:extLst>
              <a:ext uri="{FF2B5EF4-FFF2-40B4-BE49-F238E27FC236}">
                <a16:creationId xmlns:a16="http://schemas.microsoft.com/office/drawing/2014/main" id="{143FB02A-6790-4E1C-BCBC-63C0FDB84AA5}"/>
              </a:ext>
            </a:extLst>
          </p:cNvPr>
          <p:cNvSpPr txBox="1"/>
          <p:nvPr/>
        </p:nvSpPr>
        <p:spPr>
          <a:xfrm>
            <a:off x="5014547" y="2491165"/>
            <a:ext cx="5524167" cy="1769715"/>
          </a:xfrm>
          <a:prstGeom prst="rect">
            <a:avLst/>
          </a:prstGeom>
          <a:noFill/>
        </p:spPr>
        <p:txBody>
          <a:bodyPr wrap="square" lIns="0" tIns="0" rIns="0" bIns="0" numCol="1" rtlCol="0">
            <a:spAutoFit/>
          </a:bodyPr>
          <a:lstStyle/>
          <a:p>
            <a:r>
              <a:rPr lang="de-DE" altLang="de-DE" sz="11500" dirty="0">
                <a:solidFill>
                  <a:schemeClr val="bg1"/>
                </a:solidFill>
                <a:latin typeface="Franklin Gothic Demi" panose="020B0703020102020204" pitchFamily="34" charset="0"/>
              </a:rPr>
              <a:t>Justice</a:t>
            </a:r>
          </a:p>
        </p:txBody>
      </p:sp>
    </p:spTree>
    <p:extLst>
      <p:ext uri="{BB962C8B-B14F-4D97-AF65-F5344CB8AC3E}">
        <p14:creationId xmlns:p14="http://schemas.microsoft.com/office/powerpoint/2010/main" val="3682418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2" presetClass="entr" presetSubtype="2" fill="hold" nodeType="withEffect">
                                  <p:stCondLst>
                                    <p:cond delay="0"/>
                                  </p:stCondLst>
                                  <p:childTnLst>
                                    <p:set>
                                      <p:cBhvr>
                                        <p:cTn id="14" dur="1" fill="hold">
                                          <p:stCondLst>
                                            <p:cond delay="0"/>
                                          </p:stCondLst>
                                        </p:cTn>
                                        <p:tgtEl>
                                          <p:spTgt spid="2052"/>
                                        </p:tgtEl>
                                        <p:attrNameLst>
                                          <p:attrName>style.visibility</p:attrName>
                                        </p:attrNameLst>
                                      </p:cBhvr>
                                      <p:to>
                                        <p:strVal val="visible"/>
                                      </p:to>
                                    </p:set>
                                    <p:anim calcmode="lin" valueType="num">
                                      <p:cBhvr additive="base">
                                        <p:cTn id="15" dur="500" fill="hold"/>
                                        <p:tgtEl>
                                          <p:spTgt spid="2052"/>
                                        </p:tgtEl>
                                        <p:attrNameLst>
                                          <p:attrName>ppt_x</p:attrName>
                                        </p:attrNameLst>
                                      </p:cBhvr>
                                      <p:tavLst>
                                        <p:tav tm="0">
                                          <p:val>
                                            <p:strVal val="1+#ppt_w/2"/>
                                          </p:val>
                                        </p:tav>
                                        <p:tav tm="100000">
                                          <p:val>
                                            <p:strVal val="#ppt_x"/>
                                          </p:val>
                                        </p:tav>
                                      </p:tavLst>
                                    </p:anim>
                                    <p:anim calcmode="lin" valueType="num">
                                      <p:cBhvr additive="base">
                                        <p:cTn id="16" dur="500" fill="hold"/>
                                        <p:tgtEl>
                                          <p:spTgt spid="20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3FFFA729-6841-4A60-9BB8-2ABE711A53AB}"/>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tangle 30">
            <a:extLst>
              <a:ext uri="{FF2B5EF4-FFF2-40B4-BE49-F238E27FC236}">
                <a16:creationId xmlns:a16="http://schemas.microsoft.com/office/drawing/2014/main" id="{737329A7-CE96-48C5-A546-7F253B89D3F0}"/>
              </a:ext>
            </a:extLst>
          </p:cNvPr>
          <p:cNvSpPr/>
          <p:nvPr/>
        </p:nvSpPr>
        <p:spPr>
          <a:xfrm>
            <a:off x="-1" y="0"/>
            <a:ext cx="4667693" cy="6858000"/>
          </a:xfrm>
          <a:prstGeom prst="rect">
            <a:avLst/>
          </a:prstGeom>
          <a:solidFill>
            <a:schemeClr val="tx2"/>
          </a:solidFill>
          <a:ln>
            <a:noFill/>
          </a:ln>
          <a:effectLst>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pic>
        <p:nvPicPr>
          <p:cNvPr id="10" name="Picture 2" descr="Transparent Stripes Tumblr Huge Freebie Download For Transparent - Clip Art  Library">
            <a:extLst>
              <a:ext uri="{FF2B5EF4-FFF2-40B4-BE49-F238E27FC236}">
                <a16:creationId xmlns:a16="http://schemas.microsoft.com/office/drawing/2014/main" id="{A906D79D-C46F-4650-BD63-EEB6B5F0669A}"/>
              </a:ext>
            </a:extLst>
          </p:cNvPr>
          <p:cNvPicPr>
            <a:picLocks noChangeAspect="1" noChangeArrowheads="1"/>
          </p:cNvPicPr>
          <p:nvPr/>
        </p:nvPicPr>
        <p:blipFill>
          <a:blip r:embed="rId3">
            <a:alphaModFix amt="2000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0" y="0"/>
            <a:ext cx="4713554" cy="6858000"/>
          </a:xfrm>
          <a:prstGeom prst="rect">
            <a:avLst/>
          </a:prstGeom>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pic>
        <p:nvPicPr>
          <p:cNvPr id="5" name="Picture 4">
            <a:extLst>
              <a:ext uri="{FF2B5EF4-FFF2-40B4-BE49-F238E27FC236}">
                <a16:creationId xmlns:a16="http://schemas.microsoft.com/office/drawing/2014/main" id="{D98AB1D8-73DC-46CB-95F2-C195DA6876C9}"/>
              </a:ext>
            </a:extLst>
          </p:cNvPr>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68347" y="165745"/>
            <a:ext cx="4330996" cy="3832930"/>
          </a:xfrm>
          <a:prstGeom prst="rect">
            <a:avLst/>
          </a:prstGeom>
        </p:spPr>
      </p:pic>
      <p:pic>
        <p:nvPicPr>
          <p:cNvPr id="3" name="Graphic 2" descr="Three circles each containing concentric circles.">
            <a:extLst>
              <a:ext uri="{FF2B5EF4-FFF2-40B4-BE49-F238E27FC236}">
                <a16:creationId xmlns:a16="http://schemas.microsoft.com/office/drawing/2014/main" id="{9F98EA65-F441-4403-A472-7825788317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8983" y="2486248"/>
            <a:ext cx="5025655" cy="5025655"/>
          </a:xfrm>
          <a:prstGeom prst="rect">
            <a:avLst/>
          </a:prstGeom>
        </p:spPr>
      </p:pic>
      <p:sp>
        <p:nvSpPr>
          <p:cNvPr id="9" name="Rectangle 8">
            <a:extLst>
              <a:ext uri="{FF2B5EF4-FFF2-40B4-BE49-F238E27FC236}">
                <a16:creationId xmlns:a16="http://schemas.microsoft.com/office/drawing/2014/main" id="{A222CCF8-17D4-4C73-A966-9A235E89080C}"/>
              </a:ext>
            </a:extLst>
          </p:cNvPr>
          <p:cNvSpPr/>
          <p:nvPr/>
        </p:nvSpPr>
        <p:spPr>
          <a:xfrm>
            <a:off x="4574398" y="-71022"/>
            <a:ext cx="139156" cy="692902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6380B8EE-AB35-4BBB-9D6E-F2B18AA33D45}"/>
              </a:ext>
            </a:extLst>
          </p:cNvPr>
          <p:cNvSpPr txBox="1"/>
          <p:nvPr/>
        </p:nvSpPr>
        <p:spPr>
          <a:xfrm>
            <a:off x="4846672" y="248478"/>
            <a:ext cx="7176981" cy="830997"/>
          </a:xfrm>
          <a:prstGeom prst="rect">
            <a:avLst/>
          </a:prstGeom>
          <a:noFill/>
        </p:spPr>
        <p:txBody>
          <a:bodyPr wrap="square" rtlCol="0">
            <a:spAutoFit/>
          </a:bodyPr>
          <a:lstStyle/>
          <a:p>
            <a:endParaRPr lang="en-GB" sz="2400" b="1" dirty="0">
              <a:solidFill>
                <a:schemeClr val="bg1"/>
              </a:solidFill>
              <a:effectLst>
                <a:outerShdw blurRad="38100" dist="38100" dir="2700000" algn="tl">
                  <a:srgbClr val="000000">
                    <a:alpha val="43137"/>
                  </a:srgbClr>
                </a:outerShdw>
              </a:effectLst>
            </a:endParaRPr>
          </a:p>
          <a:p>
            <a:endParaRPr lang="en-GB" sz="2400" b="1" dirty="0">
              <a:solidFill>
                <a:schemeClr val="bg1"/>
              </a:solidFill>
              <a:effectLst>
                <a:outerShdw blurRad="38100" dist="38100" dir="2700000" algn="tl">
                  <a:srgbClr val="000000">
                    <a:alpha val="43137"/>
                  </a:srgbClr>
                </a:outerShdw>
              </a:effectLst>
            </a:endParaRPr>
          </a:p>
        </p:txBody>
      </p:sp>
      <p:sp>
        <p:nvSpPr>
          <p:cNvPr id="8" name="TextBox 7">
            <a:extLst>
              <a:ext uri="{FF2B5EF4-FFF2-40B4-BE49-F238E27FC236}">
                <a16:creationId xmlns:a16="http://schemas.microsoft.com/office/drawing/2014/main" id="{B2836570-7673-4EA7-B6FB-3C4C41D6400D}"/>
              </a:ext>
            </a:extLst>
          </p:cNvPr>
          <p:cNvSpPr txBox="1"/>
          <p:nvPr/>
        </p:nvSpPr>
        <p:spPr>
          <a:xfrm>
            <a:off x="4742747" y="165745"/>
            <a:ext cx="7176981" cy="6555641"/>
          </a:xfrm>
          <a:prstGeom prst="rect">
            <a:avLst/>
          </a:prstGeom>
          <a:noFill/>
        </p:spPr>
        <p:txBody>
          <a:bodyPr wrap="square" rtlCol="0">
            <a:spAutoFit/>
          </a:bodyPr>
          <a:lstStyle/>
          <a:p>
            <a:pPr marL="285750" indent="-285750">
              <a:buFont typeface="Arial" panose="020B0604020202020204" pitchFamily="34" charset="0"/>
              <a:buChar char="•"/>
            </a:pPr>
            <a:r>
              <a:rPr lang="en-GB" sz="1500" dirty="0">
                <a:solidFill>
                  <a:schemeClr val="bg1"/>
                </a:solidFill>
                <a:latin typeface="Arial" panose="020B0604020202020204" pitchFamily="34" charset="0"/>
                <a:cs typeface="Arial" panose="020B0604020202020204" pitchFamily="34" charset="0"/>
              </a:rPr>
              <a:t>My stance on Justice is a strong one as for me a good justice system will be an effective tool to ensure young people’s safety. When talking about justice I am referring to both the Scottish judiciary system and the smaller justice systems such as school punishments. Despite all the amazing progress Scotland has made I think we lack in terms of effective justice which prevents us from truly protecting young people. </a:t>
            </a:r>
          </a:p>
          <a:p>
            <a:pPr marL="285750" indent="-285750">
              <a:buFont typeface="Arial" panose="020B0604020202020204" pitchFamily="34" charset="0"/>
              <a:buChar char="•"/>
            </a:pPr>
            <a:r>
              <a:rPr lang="en-GB" sz="1500" dirty="0">
                <a:solidFill>
                  <a:schemeClr val="bg1"/>
                </a:solidFill>
                <a:latin typeface="Arial" panose="020B0604020202020204" pitchFamily="34" charset="0"/>
                <a:cs typeface="Arial" panose="020B0604020202020204" pitchFamily="34" charset="0"/>
              </a:rPr>
              <a:t>I advocate for the removal of the “not proven” as it leads to a lot of miscarriages in justice – 1 in 5 cases of sexual crimes in Scotland get the “not proven” verdict. </a:t>
            </a:r>
          </a:p>
          <a:p>
            <a:pPr marL="285750" indent="-285750">
              <a:buFont typeface="Arial" panose="020B0604020202020204" pitchFamily="34" charset="0"/>
              <a:buChar char="•"/>
            </a:pPr>
            <a:r>
              <a:rPr lang="en-GB" sz="1500" dirty="0">
                <a:solidFill>
                  <a:schemeClr val="bg1"/>
                </a:solidFill>
                <a:latin typeface="Arial" panose="020B0604020202020204" pitchFamily="34" charset="0"/>
                <a:cs typeface="Arial" panose="020B0604020202020204" pitchFamily="34" charset="0"/>
              </a:rPr>
              <a:t>Although I am a firm-believer that alternatives to prison are an option this shouldn’t apply for sexual crimes – especially against people. </a:t>
            </a:r>
            <a:r>
              <a:rPr lang="en-GB" sz="1500" b="0" i="0" dirty="0">
                <a:solidFill>
                  <a:schemeClr val="bg1"/>
                </a:solidFill>
                <a:effectLst/>
                <a:latin typeface="Arial" panose="020B0604020202020204" pitchFamily="34" charset="0"/>
                <a:cs typeface="Arial" panose="020B0604020202020204" pitchFamily="34" charset="0"/>
              </a:rPr>
              <a:t> The most common penalties for sexual assault convictions are community payback orders and prison sentences.</a:t>
            </a:r>
            <a:r>
              <a:rPr lang="en-GB" sz="1500" dirty="0">
                <a:solidFill>
                  <a:schemeClr val="bg1"/>
                </a:solidFill>
                <a:latin typeface="Arial" panose="020B0604020202020204" pitchFamily="34" charset="0"/>
                <a:cs typeface="Arial" panose="020B0604020202020204" pitchFamily="34" charset="0"/>
              </a:rPr>
              <a:t> It is vital that we try to impose harsher punishments for such offences and implement a better educational system in order to prevent such behaviour and teach boys how to be decent men from a young age. Sexual assault had been on the upward trend since  2011-12, having increased by 76% between then and 2018-2019. To prevent such horrible acts we must show that they will not be tolerated and that the consequences would be most severe. </a:t>
            </a:r>
          </a:p>
          <a:p>
            <a:pPr marL="285750" indent="-285750">
              <a:buFont typeface="Arial" panose="020B0604020202020204" pitchFamily="34" charset="0"/>
              <a:buChar char="•"/>
            </a:pPr>
            <a:r>
              <a:rPr lang="en-GB" sz="1500" dirty="0">
                <a:solidFill>
                  <a:schemeClr val="bg1"/>
                </a:solidFill>
                <a:latin typeface="Arial" panose="020B0604020202020204" pitchFamily="34" charset="0"/>
                <a:cs typeface="Arial" panose="020B0604020202020204" pitchFamily="34" charset="0"/>
              </a:rPr>
              <a:t>We should also address justice in schools or the lack of it, in order to act in their pupils’ best interests many institutions overlook awful behavioural patterns which include bullying and often hateful remarks. From my observations casual hate speech and frankly offensive jokes are often perceived as normal and meaningless – because kids will be kids. This also applies to casual sexual remarks which are overlooked. Bullying is also an issue because although low, the instances of it are rarely punished due to the lack of severe consequences when it comes to young people’s misconducts. In order to teach young people what’s right and wrong we must show them that there are consequences. </a:t>
            </a:r>
            <a:endParaRPr lang="en-GB" sz="1500" dirty="0">
              <a:solidFill>
                <a:schemeClr val="bg1"/>
              </a:solidFill>
            </a:endParaRPr>
          </a:p>
        </p:txBody>
      </p:sp>
    </p:spTree>
    <p:extLst>
      <p:ext uri="{BB962C8B-B14F-4D97-AF65-F5344CB8AC3E}">
        <p14:creationId xmlns:p14="http://schemas.microsoft.com/office/powerpoint/2010/main" val="150667129"/>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AB0E9-A649-4579-8381-D4623C7E372C}"/>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a:extLst>
              <a:ext uri="{FF2B5EF4-FFF2-40B4-BE49-F238E27FC236}">
                <a16:creationId xmlns:a16="http://schemas.microsoft.com/office/drawing/2014/main" id="{76BB28AF-6332-4327-9431-929046F4BB16}"/>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074" name="Picture 2">
            <a:extLst>
              <a:ext uri="{FF2B5EF4-FFF2-40B4-BE49-F238E27FC236}">
                <a16:creationId xmlns:a16="http://schemas.microsoft.com/office/drawing/2014/main" id="{3924EF32-779A-4787-9109-B8AD9AB69358}"/>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p:blipFill>
        <p:spPr bwMode="auto">
          <a:xfrm>
            <a:off x="681955" y="1730376"/>
            <a:ext cx="3397247" cy="339724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D18A2E7-C636-4781-9545-FF56D2ED50CB}"/>
              </a:ext>
            </a:extLst>
          </p:cNvPr>
          <p:cNvSpPr/>
          <p:nvPr/>
        </p:nvSpPr>
        <p:spPr>
          <a:xfrm>
            <a:off x="4459397" y="1523670"/>
            <a:ext cx="5524168" cy="3704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EDA1A162-1E39-4C28-84A1-519449F74182}"/>
              </a:ext>
            </a:extLst>
          </p:cNvPr>
          <p:cNvSpPr/>
          <p:nvPr/>
        </p:nvSpPr>
        <p:spPr>
          <a:xfrm>
            <a:off x="4670734" y="1311442"/>
            <a:ext cx="7521266" cy="4022888"/>
          </a:xfrm>
          <a:prstGeom prst="rect">
            <a:avLst/>
          </a:prstGeom>
          <a:solidFill>
            <a:srgbClr val="21212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24282614-0235-41DC-BEC6-9F37593B28E6}"/>
              </a:ext>
            </a:extLst>
          </p:cNvPr>
          <p:cNvSpPr txBox="1"/>
          <p:nvPr/>
        </p:nvSpPr>
        <p:spPr>
          <a:xfrm>
            <a:off x="4922079" y="2197892"/>
            <a:ext cx="5524167" cy="2462213"/>
          </a:xfrm>
          <a:prstGeom prst="rect">
            <a:avLst/>
          </a:prstGeom>
          <a:noFill/>
        </p:spPr>
        <p:txBody>
          <a:bodyPr wrap="square" lIns="0" tIns="0" rIns="0" bIns="0" numCol="1" rtlCol="0">
            <a:spAutoFit/>
          </a:bodyPr>
          <a:lstStyle/>
          <a:p>
            <a:r>
              <a:rPr lang="de-DE" altLang="de-DE" sz="8000" dirty="0">
                <a:solidFill>
                  <a:schemeClr val="bg1"/>
                </a:solidFill>
                <a:latin typeface="Franklin Gothic Demi" panose="020B0703020102020204" pitchFamily="34" charset="0"/>
              </a:rPr>
              <a:t>Rights and Equality</a:t>
            </a:r>
          </a:p>
        </p:txBody>
      </p:sp>
    </p:spTree>
    <p:extLst>
      <p:ext uri="{BB962C8B-B14F-4D97-AF65-F5344CB8AC3E}">
        <p14:creationId xmlns:p14="http://schemas.microsoft.com/office/powerpoint/2010/main" val="3228838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2" presetClass="entr" presetSubtype="2" fill="hold" nodeType="withEffect">
                                  <p:stCondLst>
                                    <p:cond delay="0"/>
                                  </p:stCondLst>
                                  <p:childTnLst>
                                    <p:set>
                                      <p:cBhvr>
                                        <p:cTn id="14" dur="1" fill="hold">
                                          <p:stCondLst>
                                            <p:cond delay="0"/>
                                          </p:stCondLst>
                                        </p:cTn>
                                        <p:tgtEl>
                                          <p:spTgt spid="3074"/>
                                        </p:tgtEl>
                                        <p:attrNameLst>
                                          <p:attrName>style.visibility</p:attrName>
                                        </p:attrNameLst>
                                      </p:cBhvr>
                                      <p:to>
                                        <p:strVal val="visible"/>
                                      </p:to>
                                    </p:set>
                                    <p:anim calcmode="lin" valueType="num">
                                      <p:cBhvr additive="base">
                                        <p:cTn id="15" dur="500" fill="hold"/>
                                        <p:tgtEl>
                                          <p:spTgt spid="3074"/>
                                        </p:tgtEl>
                                        <p:attrNameLst>
                                          <p:attrName>ppt_x</p:attrName>
                                        </p:attrNameLst>
                                      </p:cBhvr>
                                      <p:tavLst>
                                        <p:tav tm="0">
                                          <p:val>
                                            <p:strVal val="1+#ppt_w/2"/>
                                          </p:val>
                                        </p:tav>
                                        <p:tav tm="100000">
                                          <p:val>
                                            <p:strVal val="#ppt_x"/>
                                          </p:val>
                                        </p:tav>
                                      </p:tavLst>
                                    </p:anim>
                                    <p:anim calcmode="lin" valueType="num">
                                      <p:cBhvr additive="base">
                                        <p:cTn id="16" dur="500" fill="hold"/>
                                        <p:tgtEl>
                                          <p:spTgt spid="307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171A64-B73D-4202-B344-407A9845ADFE}"/>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accent2">
                    <a:lumMod val="50000"/>
                  </a:schemeClr>
                </a:solidFill>
              </a:ln>
            </a:endParaRPr>
          </a:p>
        </p:txBody>
      </p:sp>
      <p:sp>
        <p:nvSpPr>
          <p:cNvPr id="213" name="Rectangle 212">
            <a:extLst>
              <a:ext uri="{FF2B5EF4-FFF2-40B4-BE49-F238E27FC236}">
                <a16:creationId xmlns:a16="http://schemas.microsoft.com/office/drawing/2014/main" id="{649B3F95-F36E-4986-9DC0-15A4D83DC191}"/>
              </a:ext>
            </a:extLst>
          </p:cNvPr>
          <p:cNvSpPr/>
          <p:nvPr/>
        </p:nvSpPr>
        <p:spPr>
          <a:xfrm>
            <a:off x="1" y="0"/>
            <a:ext cx="4678325" cy="6858000"/>
          </a:xfrm>
          <a:prstGeom prst="rect">
            <a:avLst/>
          </a:prstGeom>
          <a:solidFill>
            <a:schemeClr val="tx2"/>
          </a:solidFill>
          <a:ln>
            <a:noFill/>
          </a:ln>
          <a:effectLst>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pic>
        <p:nvPicPr>
          <p:cNvPr id="189" name="Picture 2" descr="Transparent Stripes Tumblr Huge Freebie Download For Transparent - Clip Art  Library">
            <a:extLst>
              <a:ext uri="{FF2B5EF4-FFF2-40B4-BE49-F238E27FC236}">
                <a16:creationId xmlns:a16="http://schemas.microsoft.com/office/drawing/2014/main" id="{5D2509C6-2295-42B3-9424-33820D0A40F1}"/>
              </a:ext>
            </a:extLst>
          </p:cNvPr>
          <p:cNvPicPr>
            <a:picLocks noChangeAspect="1" noChangeArrowheads="1"/>
          </p:cNvPicPr>
          <p:nvPr/>
        </p:nvPicPr>
        <p:blipFill>
          <a:blip r:embed="rId3">
            <a:alphaModFix amt="20000"/>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0" y="0"/>
            <a:ext cx="4713554" cy="6858000"/>
          </a:xfrm>
          <a:prstGeom prst="rect">
            <a:avLst/>
          </a:prstGeom>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pic>
        <p:nvPicPr>
          <p:cNvPr id="4098" name="Picture 2" descr="Manpower Icon at GetDrawings | Free download">
            <a:extLst>
              <a:ext uri="{FF2B5EF4-FFF2-40B4-BE49-F238E27FC236}">
                <a16:creationId xmlns:a16="http://schemas.microsoft.com/office/drawing/2014/main" id="{E93BD9FF-8CEE-44A9-915E-F3A302653D64}"/>
              </a:ext>
            </a:extLst>
          </p:cNvPr>
          <p:cNvPicPr>
            <a:picLocks noChangeAspect="1" noChangeArrowheads="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9046" y="422185"/>
            <a:ext cx="2797802" cy="2797802"/>
          </a:xfrm>
          <a:prstGeom prst="rect">
            <a:avLst/>
          </a:prstGeom>
          <a:noFill/>
          <a:extLst>
            <a:ext uri="{909E8E84-426E-40DD-AFC4-6F175D3DCCD1}">
              <a14:hiddenFill xmlns:a14="http://schemas.microsoft.com/office/drawing/2010/main">
                <a:solidFill>
                  <a:srgbClr val="FFFFFF"/>
                </a:solidFill>
              </a14:hiddenFill>
            </a:ext>
          </a:extLst>
        </p:spPr>
      </p:pic>
      <p:grpSp>
        <p:nvGrpSpPr>
          <p:cNvPr id="216" name="Graphic 214" descr="An assortment of differently patterned circles">
            <a:extLst>
              <a:ext uri="{FF2B5EF4-FFF2-40B4-BE49-F238E27FC236}">
                <a16:creationId xmlns:a16="http://schemas.microsoft.com/office/drawing/2014/main" id="{087EABC1-08CC-4433-8860-AA52558146DA}"/>
              </a:ext>
            </a:extLst>
          </p:cNvPr>
          <p:cNvGrpSpPr/>
          <p:nvPr/>
        </p:nvGrpSpPr>
        <p:grpSpPr>
          <a:xfrm>
            <a:off x="2335766" y="4232411"/>
            <a:ext cx="2203404" cy="2203404"/>
            <a:chOff x="2393962" y="4163750"/>
            <a:chExt cx="2203404" cy="2203404"/>
          </a:xfrm>
          <a:solidFill>
            <a:srgbClr val="D2D2D2"/>
          </a:solidFill>
        </p:grpSpPr>
        <p:sp>
          <p:nvSpPr>
            <p:cNvPr id="217" name="Freeform: Shape 216">
              <a:extLst>
                <a:ext uri="{FF2B5EF4-FFF2-40B4-BE49-F238E27FC236}">
                  <a16:creationId xmlns:a16="http://schemas.microsoft.com/office/drawing/2014/main" id="{B999B38E-80F8-490F-B2C6-33F894D72541}"/>
                </a:ext>
              </a:extLst>
            </p:cNvPr>
            <p:cNvSpPr/>
            <p:nvPr/>
          </p:nvSpPr>
          <p:spPr>
            <a:xfrm>
              <a:off x="4022691" y="5792473"/>
              <a:ext cx="441390" cy="441390"/>
            </a:xfrm>
            <a:custGeom>
              <a:avLst/>
              <a:gdLst>
                <a:gd name="connsiteX0" fmla="*/ 88256 w 441390"/>
                <a:gd name="connsiteY0" fmla="*/ 387766 h 441390"/>
                <a:gd name="connsiteX1" fmla="*/ 387766 w 441390"/>
                <a:gd name="connsiteY1" fmla="*/ 88256 h 441390"/>
                <a:gd name="connsiteX2" fmla="*/ 441391 w 441390"/>
                <a:gd name="connsiteY2" fmla="*/ 0 h 441390"/>
                <a:gd name="connsiteX3" fmla="*/ 0 w 441390"/>
                <a:gd name="connsiteY3" fmla="*/ 441391 h 441390"/>
                <a:gd name="connsiteX4" fmla="*/ 88256 w 441390"/>
                <a:gd name="connsiteY4" fmla="*/ 387766 h 441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390" h="441390">
                  <a:moveTo>
                    <a:pt x="88256" y="387766"/>
                  </a:moveTo>
                  <a:lnTo>
                    <a:pt x="387766" y="88256"/>
                  </a:lnTo>
                  <a:cubicBezTo>
                    <a:pt x="407145" y="59509"/>
                    <a:pt x="425018" y="30058"/>
                    <a:pt x="441391" y="0"/>
                  </a:cubicBezTo>
                  <a:lnTo>
                    <a:pt x="0" y="441391"/>
                  </a:lnTo>
                  <a:cubicBezTo>
                    <a:pt x="30058" y="425018"/>
                    <a:pt x="59509" y="407145"/>
                    <a:pt x="88256" y="387766"/>
                  </a:cubicBezTo>
                  <a:close/>
                </a:path>
              </a:pathLst>
            </a:custGeom>
            <a:solidFill>
              <a:srgbClr val="D2D2D2"/>
            </a:solidFill>
            <a:ln w="6122" cap="flat">
              <a:noFill/>
              <a:prstDash val="solid"/>
              <a:miter/>
            </a:ln>
          </p:spPr>
          <p:txBody>
            <a:bodyPr rtlCol="0" anchor="ctr"/>
            <a:lstStyle/>
            <a:p>
              <a:endParaRPr lang="en-GB"/>
            </a:p>
          </p:txBody>
        </p:sp>
        <p:sp>
          <p:nvSpPr>
            <p:cNvPr id="218" name="Freeform: Shape 217">
              <a:extLst>
                <a:ext uri="{FF2B5EF4-FFF2-40B4-BE49-F238E27FC236}">
                  <a16:creationId xmlns:a16="http://schemas.microsoft.com/office/drawing/2014/main" id="{81A92031-EA47-47AA-A3FC-62B53391DE2E}"/>
                </a:ext>
              </a:extLst>
            </p:cNvPr>
            <p:cNvSpPr/>
            <p:nvPr/>
          </p:nvSpPr>
          <p:spPr>
            <a:xfrm>
              <a:off x="3822874" y="5592656"/>
              <a:ext cx="725569" cy="725569"/>
            </a:xfrm>
            <a:custGeom>
              <a:avLst/>
              <a:gdLst>
                <a:gd name="connsiteX0" fmla="*/ 52278 w 725569"/>
                <a:gd name="connsiteY0" fmla="*/ 707923 h 725569"/>
                <a:gd name="connsiteX1" fmla="*/ 707923 w 725569"/>
                <a:gd name="connsiteY1" fmla="*/ 52278 h 725569"/>
                <a:gd name="connsiteX2" fmla="*/ 725569 w 725569"/>
                <a:gd name="connsiteY2" fmla="*/ 0 h 725569"/>
                <a:gd name="connsiteX3" fmla="*/ 0 w 725569"/>
                <a:gd name="connsiteY3" fmla="*/ 725569 h 725569"/>
                <a:gd name="connsiteX4" fmla="*/ 52278 w 725569"/>
                <a:gd name="connsiteY4" fmla="*/ 707923 h 725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569" h="725569">
                  <a:moveTo>
                    <a:pt x="52278" y="707923"/>
                  </a:moveTo>
                  <a:lnTo>
                    <a:pt x="707923" y="52278"/>
                  </a:lnTo>
                  <a:cubicBezTo>
                    <a:pt x="714255" y="34975"/>
                    <a:pt x="720132" y="17542"/>
                    <a:pt x="725569" y="0"/>
                  </a:cubicBezTo>
                  <a:lnTo>
                    <a:pt x="0" y="725569"/>
                  </a:lnTo>
                  <a:cubicBezTo>
                    <a:pt x="17542" y="720132"/>
                    <a:pt x="34975" y="714255"/>
                    <a:pt x="52278" y="707923"/>
                  </a:cubicBezTo>
                  <a:close/>
                </a:path>
              </a:pathLst>
            </a:custGeom>
            <a:solidFill>
              <a:srgbClr val="D2D2D2"/>
            </a:solidFill>
            <a:ln w="6122" cap="flat">
              <a:noFill/>
              <a:prstDash val="solid"/>
              <a:miter/>
            </a:ln>
          </p:spPr>
          <p:txBody>
            <a:bodyPr rtlCol="0" anchor="ctr"/>
            <a:lstStyle/>
            <a:p>
              <a:endParaRPr lang="en-GB"/>
            </a:p>
          </p:txBody>
        </p:sp>
        <p:sp>
          <p:nvSpPr>
            <p:cNvPr id="219" name="Freeform: Shape 218">
              <a:extLst>
                <a:ext uri="{FF2B5EF4-FFF2-40B4-BE49-F238E27FC236}">
                  <a16:creationId xmlns:a16="http://schemas.microsoft.com/office/drawing/2014/main" id="{B2215AC9-3A9F-48A5-9FEB-BE1026C7BC60}"/>
                </a:ext>
              </a:extLst>
            </p:cNvPr>
            <p:cNvSpPr/>
            <p:nvPr/>
          </p:nvSpPr>
          <p:spPr>
            <a:xfrm>
              <a:off x="3672097" y="5441885"/>
              <a:ext cx="911664" cy="911657"/>
            </a:xfrm>
            <a:custGeom>
              <a:avLst/>
              <a:gdLst>
                <a:gd name="connsiteX0" fmla="*/ 42297 w 911664"/>
                <a:gd name="connsiteY0" fmla="*/ 903998 h 911657"/>
                <a:gd name="connsiteX1" fmla="*/ 903998 w 911664"/>
                <a:gd name="connsiteY1" fmla="*/ 42297 h 911657"/>
                <a:gd name="connsiteX2" fmla="*/ 911664 w 911664"/>
                <a:gd name="connsiteY2" fmla="*/ 0 h 911657"/>
                <a:gd name="connsiteX3" fmla="*/ 0 w 911664"/>
                <a:gd name="connsiteY3" fmla="*/ 911658 h 911657"/>
                <a:gd name="connsiteX4" fmla="*/ 42297 w 911664"/>
                <a:gd name="connsiteY4" fmla="*/ 903998 h 911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664" h="911657">
                  <a:moveTo>
                    <a:pt x="42297" y="903998"/>
                  </a:moveTo>
                  <a:lnTo>
                    <a:pt x="903998" y="42297"/>
                  </a:lnTo>
                  <a:cubicBezTo>
                    <a:pt x="906827" y="28239"/>
                    <a:pt x="909387" y="14138"/>
                    <a:pt x="911664" y="0"/>
                  </a:cubicBezTo>
                  <a:lnTo>
                    <a:pt x="0" y="911658"/>
                  </a:lnTo>
                  <a:cubicBezTo>
                    <a:pt x="14138" y="909380"/>
                    <a:pt x="28239" y="906827"/>
                    <a:pt x="42297" y="903998"/>
                  </a:cubicBezTo>
                  <a:close/>
                </a:path>
              </a:pathLst>
            </a:custGeom>
            <a:solidFill>
              <a:srgbClr val="D2D2D2"/>
            </a:solidFill>
            <a:ln w="6122" cap="flat">
              <a:noFill/>
              <a:prstDash val="solid"/>
              <a:miter/>
            </a:ln>
          </p:spPr>
          <p:txBody>
            <a:bodyPr rtlCol="0" anchor="ctr"/>
            <a:lstStyle/>
            <a:p>
              <a:endParaRPr lang="en-GB"/>
            </a:p>
          </p:txBody>
        </p:sp>
        <p:sp>
          <p:nvSpPr>
            <p:cNvPr id="220" name="Freeform: Shape 219">
              <a:extLst>
                <a:ext uri="{FF2B5EF4-FFF2-40B4-BE49-F238E27FC236}">
                  <a16:creationId xmlns:a16="http://schemas.microsoft.com/office/drawing/2014/main" id="{606449E0-1939-4BA2-A73E-793BE3468AE9}"/>
                </a:ext>
              </a:extLst>
            </p:cNvPr>
            <p:cNvSpPr/>
            <p:nvPr/>
          </p:nvSpPr>
          <p:spPr>
            <a:xfrm>
              <a:off x="3543533" y="5313321"/>
              <a:ext cx="1053331" cy="1053324"/>
            </a:xfrm>
            <a:custGeom>
              <a:avLst/>
              <a:gdLst>
                <a:gd name="connsiteX0" fmla="*/ 36836 w 1053331"/>
                <a:gd name="connsiteY0" fmla="*/ 1051121 h 1053324"/>
                <a:gd name="connsiteX1" fmla="*/ 1051127 w 1053331"/>
                <a:gd name="connsiteY1" fmla="*/ 36836 h 1053324"/>
                <a:gd name="connsiteX2" fmla="*/ 1053331 w 1053331"/>
                <a:gd name="connsiteY2" fmla="*/ 0 h 1053324"/>
                <a:gd name="connsiteX3" fmla="*/ 0 w 1053331"/>
                <a:gd name="connsiteY3" fmla="*/ 1053325 h 1053324"/>
                <a:gd name="connsiteX4" fmla="*/ 36836 w 1053331"/>
                <a:gd name="connsiteY4" fmla="*/ 1051121 h 105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331" h="1053324">
                  <a:moveTo>
                    <a:pt x="36836" y="1051121"/>
                  </a:moveTo>
                  <a:lnTo>
                    <a:pt x="1051127" y="36836"/>
                  </a:lnTo>
                  <a:cubicBezTo>
                    <a:pt x="1052064" y="24565"/>
                    <a:pt x="1052799" y="12289"/>
                    <a:pt x="1053331" y="0"/>
                  </a:cubicBezTo>
                  <a:lnTo>
                    <a:pt x="0" y="1053325"/>
                  </a:lnTo>
                  <a:cubicBezTo>
                    <a:pt x="12289" y="1052798"/>
                    <a:pt x="24571" y="1052057"/>
                    <a:pt x="36836" y="1051121"/>
                  </a:cubicBezTo>
                  <a:close/>
                </a:path>
              </a:pathLst>
            </a:custGeom>
            <a:solidFill>
              <a:srgbClr val="D2D2D2"/>
            </a:solidFill>
            <a:ln w="6122" cap="flat">
              <a:noFill/>
              <a:prstDash val="solid"/>
              <a:miter/>
            </a:ln>
          </p:spPr>
          <p:txBody>
            <a:bodyPr rtlCol="0" anchor="ctr"/>
            <a:lstStyle/>
            <a:p>
              <a:endParaRPr lang="en-GB"/>
            </a:p>
          </p:txBody>
        </p:sp>
        <p:sp>
          <p:nvSpPr>
            <p:cNvPr id="221" name="Freeform: Shape 220">
              <a:extLst>
                <a:ext uri="{FF2B5EF4-FFF2-40B4-BE49-F238E27FC236}">
                  <a16:creationId xmlns:a16="http://schemas.microsoft.com/office/drawing/2014/main" id="{F603E9BD-2D27-4E39-A106-EBB5F570BF47}"/>
                </a:ext>
              </a:extLst>
            </p:cNvPr>
            <p:cNvSpPr/>
            <p:nvPr/>
          </p:nvSpPr>
          <p:spPr>
            <a:xfrm>
              <a:off x="3429095" y="5198871"/>
              <a:ext cx="1168270" cy="1168283"/>
            </a:xfrm>
            <a:custGeom>
              <a:avLst/>
              <a:gdLst>
                <a:gd name="connsiteX0" fmla="*/ 33113 w 1168270"/>
                <a:gd name="connsiteY0" fmla="*/ 1168283 h 1168283"/>
                <a:gd name="connsiteX1" fmla="*/ 1168271 w 1168270"/>
                <a:gd name="connsiteY1" fmla="*/ 33119 h 1168283"/>
                <a:gd name="connsiteX2" fmla="*/ 1166753 w 1168270"/>
                <a:gd name="connsiteY2" fmla="*/ 0 h 1168283"/>
                <a:gd name="connsiteX3" fmla="*/ 0 w 1168270"/>
                <a:gd name="connsiteY3" fmla="*/ 1166765 h 1168283"/>
                <a:gd name="connsiteX4" fmla="*/ 33113 w 1168270"/>
                <a:gd name="connsiteY4" fmla="*/ 1168283 h 1168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270" h="1168283">
                  <a:moveTo>
                    <a:pt x="33113" y="1168283"/>
                  </a:moveTo>
                  <a:lnTo>
                    <a:pt x="1168271" y="33119"/>
                  </a:lnTo>
                  <a:cubicBezTo>
                    <a:pt x="1167934" y="22073"/>
                    <a:pt x="1167420" y="11034"/>
                    <a:pt x="1166753" y="0"/>
                  </a:cubicBezTo>
                  <a:lnTo>
                    <a:pt x="0" y="1166765"/>
                  </a:lnTo>
                  <a:cubicBezTo>
                    <a:pt x="11028" y="1167426"/>
                    <a:pt x="22067" y="1167947"/>
                    <a:pt x="33113" y="1168283"/>
                  </a:cubicBezTo>
                  <a:close/>
                </a:path>
              </a:pathLst>
            </a:custGeom>
            <a:solidFill>
              <a:srgbClr val="D2D2D2"/>
            </a:solidFill>
            <a:ln w="6122" cap="flat">
              <a:noFill/>
              <a:prstDash val="solid"/>
              <a:miter/>
            </a:ln>
          </p:spPr>
          <p:txBody>
            <a:bodyPr rtlCol="0" anchor="ctr"/>
            <a:lstStyle/>
            <a:p>
              <a:endParaRPr lang="en-GB"/>
            </a:p>
          </p:txBody>
        </p:sp>
        <p:sp>
          <p:nvSpPr>
            <p:cNvPr id="222" name="Freeform: Shape 221">
              <a:extLst>
                <a:ext uri="{FF2B5EF4-FFF2-40B4-BE49-F238E27FC236}">
                  <a16:creationId xmlns:a16="http://schemas.microsoft.com/office/drawing/2014/main" id="{FC3A17AA-4342-4680-94B5-D45BA15D7C8F}"/>
                </a:ext>
              </a:extLst>
            </p:cNvPr>
            <p:cNvSpPr/>
            <p:nvPr/>
          </p:nvSpPr>
          <p:spPr>
            <a:xfrm>
              <a:off x="3324889" y="5094671"/>
              <a:ext cx="1264027" cy="1264027"/>
            </a:xfrm>
            <a:custGeom>
              <a:avLst/>
              <a:gdLst>
                <a:gd name="connsiteX0" fmla="*/ 30315 w 1264027"/>
                <a:gd name="connsiteY0" fmla="*/ 1264028 h 1264027"/>
                <a:gd name="connsiteX1" fmla="*/ 1264028 w 1264027"/>
                <a:gd name="connsiteY1" fmla="*/ 30321 h 1264027"/>
                <a:gd name="connsiteX2" fmla="*/ 1259711 w 1264027"/>
                <a:gd name="connsiteY2" fmla="*/ 0 h 1264027"/>
                <a:gd name="connsiteX3" fmla="*/ 0 w 1264027"/>
                <a:gd name="connsiteY3" fmla="*/ 1259717 h 1264027"/>
                <a:gd name="connsiteX4" fmla="*/ 30315 w 1264027"/>
                <a:gd name="connsiteY4" fmla="*/ 1264028 h 1264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027" h="1264027">
                  <a:moveTo>
                    <a:pt x="30315" y="1264028"/>
                  </a:moveTo>
                  <a:lnTo>
                    <a:pt x="1264028" y="30321"/>
                  </a:lnTo>
                  <a:cubicBezTo>
                    <a:pt x="1262736" y="20200"/>
                    <a:pt x="1261291" y="10091"/>
                    <a:pt x="1259711" y="0"/>
                  </a:cubicBezTo>
                  <a:lnTo>
                    <a:pt x="0" y="1259717"/>
                  </a:lnTo>
                  <a:cubicBezTo>
                    <a:pt x="10091" y="1261291"/>
                    <a:pt x="20194" y="1262736"/>
                    <a:pt x="30315" y="1264028"/>
                  </a:cubicBezTo>
                  <a:close/>
                </a:path>
              </a:pathLst>
            </a:custGeom>
            <a:solidFill>
              <a:srgbClr val="D2D2D2"/>
            </a:solidFill>
            <a:ln w="6122" cap="flat">
              <a:noFill/>
              <a:prstDash val="solid"/>
              <a:miter/>
            </a:ln>
          </p:spPr>
          <p:txBody>
            <a:bodyPr rtlCol="0" anchor="ctr"/>
            <a:lstStyle/>
            <a:p>
              <a:endParaRPr lang="en-GB"/>
            </a:p>
          </p:txBody>
        </p:sp>
        <p:sp>
          <p:nvSpPr>
            <p:cNvPr id="223" name="Freeform: Shape 222">
              <a:extLst>
                <a:ext uri="{FF2B5EF4-FFF2-40B4-BE49-F238E27FC236}">
                  <a16:creationId xmlns:a16="http://schemas.microsoft.com/office/drawing/2014/main" id="{1A513D2C-BF0E-4509-BA63-52FA18B6A9AC}"/>
                </a:ext>
              </a:extLst>
            </p:cNvPr>
            <p:cNvSpPr/>
            <p:nvPr/>
          </p:nvSpPr>
          <p:spPr>
            <a:xfrm>
              <a:off x="3228802" y="4998589"/>
              <a:ext cx="1343032" cy="1343026"/>
            </a:xfrm>
            <a:custGeom>
              <a:avLst/>
              <a:gdLst>
                <a:gd name="connsiteX0" fmla="*/ 28031 w 1343032"/>
                <a:gd name="connsiteY0" fmla="*/ 1343026 h 1343026"/>
                <a:gd name="connsiteX1" fmla="*/ 1343032 w 1343032"/>
                <a:gd name="connsiteY1" fmla="*/ 28031 h 1343026"/>
                <a:gd name="connsiteX2" fmla="*/ 1336432 w 1343032"/>
                <a:gd name="connsiteY2" fmla="*/ 0 h 1343026"/>
                <a:gd name="connsiteX3" fmla="*/ 0 w 1343032"/>
                <a:gd name="connsiteY3" fmla="*/ 1336426 h 1343026"/>
                <a:gd name="connsiteX4" fmla="*/ 28031 w 1343032"/>
                <a:gd name="connsiteY4" fmla="*/ 1343026 h 1343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032" h="1343026">
                  <a:moveTo>
                    <a:pt x="28031" y="1343026"/>
                  </a:moveTo>
                  <a:lnTo>
                    <a:pt x="1343032" y="28031"/>
                  </a:lnTo>
                  <a:cubicBezTo>
                    <a:pt x="1340963" y="18663"/>
                    <a:pt x="1338746" y="9319"/>
                    <a:pt x="1336432" y="0"/>
                  </a:cubicBezTo>
                  <a:lnTo>
                    <a:pt x="0" y="1336426"/>
                  </a:lnTo>
                  <a:cubicBezTo>
                    <a:pt x="9319" y="1338740"/>
                    <a:pt x="18663" y="1340957"/>
                    <a:pt x="28031" y="1343026"/>
                  </a:cubicBezTo>
                  <a:close/>
                </a:path>
              </a:pathLst>
            </a:custGeom>
            <a:solidFill>
              <a:srgbClr val="D2D2D2"/>
            </a:solidFill>
            <a:ln w="6122" cap="flat">
              <a:noFill/>
              <a:prstDash val="solid"/>
              <a:miter/>
            </a:ln>
          </p:spPr>
          <p:txBody>
            <a:bodyPr rtlCol="0" anchor="ctr"/>
            <a:lstStyle/>
            <a:p>
              <a:endParaRPr lang="en-GB"/>
            </a:p>
          </p:txBody>
        </p:sp>
        <p:sp>
          <p:nvSpPr>
            <p:cNvPr id="224" name="Freeform: Shape 223">
              <a:extLst>
                <a:ext uri="{FF2B5EF4-FFF2-40B4-BE49-F238E27FC236}">
                  <a16:creationId xmlns:a16="http://schemas.microsoft.com/office/drawing/2014/main" id="{6C5F5591-CCA1-47AE-B7AB-DC912701CF40}"/>
                </a:ext>
              </a:extLst>
            </p:cNvPr>
            <p:cNvSpPr/>
            <p:nvPr/>
          </p:nvSpPr>
          <p:spPr>
            <a:xfrm>
              <a:off x="3139602" y="4909384"/>
              <a:ext cx="1407898" cy="1407898"/>
            </a:xfrm>
            <a:custGeom>
              <a:avLst/>
              <a:gdLst>
                <a:gd name="connsiteX0" fmla="*/ 26108 w 1407898"/>
                <a:gd name="connsiteY0" fmla="*/ 1407899 h 1407898"/>
                <a:gd name="connsiteX1" fmla="*/ 1407899 w 1407898"/>
                <a:gd name="connsiteY1" fmla="*/ 26108 h 1407898"/>
                <a:gd name="connsiteX2" fmla="*/ 1399369 w 1407898"/>
                <a:gd name="connsiteY2" fmla="*/ 0 h 1407898"/>
                <a:gd name="connsiteX3" fmla="*/ 0 w 1407898"/>
                <a:gd name="connsiteY3" fmla="*/ 1399376 h 1407898"/>
                <a:gd name="connsiteX4" fmla="*/ 26108 w 1407898"/>
                <a:gd name="connsiteY4" fmla="*/ 1407899 h 1407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898" h="1407898">
                  <a:moveTo>
                    <a:pt x="26108" y="1407899"/>
                  </a:moveTo>
                  <a:lnTo>
                    <a:pt x="1407899" y="26108"/>
                  </a:lnTo>
                  <a:cubicBezTo>
                    <a:pt x="1405168" y="17377"/>
                    <a:pt x="1402327" y="8676"/>
                    <a:pt x="1399369" y="0"/>
                  </a:cubicBezTo>
                  <a:lnTo>
                    <a:pt x="0" y="1399376"/>
                  </a:lnTo>
                  <a:cubicBezTo>
                    <a:pt x="8676" y="1402327"/>
                    <a:pt x="17377" y="1405168"/>
                    <a:pt x="26108" y="1407899"/>
                  </a:cubicBezTo>
                  <a:close/>
                </a:path>
              </a:pathLst>
            </a:custGeom>
            <a:solidFill>
              <a:srgbClr val="D2D2D2"/>
            </a:solidFill>
            <a:ln w="6122" cap="flat">
              <a:noFill/>
              <a:prstDash val="solid"/>
              <a:miter/>
            </a:ln>
          </p:spPr>
          <p:txBody>
            <a:bodyPr rtlCol="0" anchor="ctr"/>
            <a:lstStyle/>
            <a:p>
              <a:endParaRPr lang="en-GB"/>
            </a:p>
          </p:txBody>
        </p:sp>
        <p:sp>
          <p:nvSpPr>
            <p:cNvPr id="225" name="Freeform: Shape 224">
              <a:extLst>
                <a:ext uri="{FF2B5EF4-FFF2-40B4-BE49-F238E27FC236}">
                  <a16:creationId xmlns:a16="http://schemas.microsoft.com/office/drawing/2014/main" id="{1696114F-794E-4DEE-9E97-A3574EE6CE4A}"/>
                </a:ext>
              </a:extLst>
            </p:cNvPr>
            <p:cNvSpPr/>
            <p:nvPr/>
          </p:nvSpPr>
          <p:spPr>
            <a:xfrm>
              <a:off x="3056293" y="4826075"/>
              <a:ext cx="1460782" cy="1460782"/>
            </a:xfrm>
            <a:custGeom>
              <a:avLst/>
              <a:gdLst>
                <a:gd name="connsiteX0" fmla="*/ 24388 w 1460782"/>
                <a:gd name="connsiteY0" fmla="*/ 1460783 h 1460782"/>
                <a:gd name="connsiteX1" fmla="*/ 1460783 w 1460782"/>
                <a:gd name="connsiteY1" fmla="*/ 24394 h 1460782"/>
                <a:gd name="connsiteX2" fmla="*/ 1450539 w 1460782"/>
                <a:gd name="connsiteY2" fmla="*/ 0 h 1460782"/>
                <a:gd name="connsiteX3" fmla="*/ 0 w 1460782"/>
                <a:gd name="connsiteY3" fmla="*/ 1450539 h 1460782"/>
                <a:gd name="connsiteX4" fmla="*/ 24388 w 1460782"/>
                <a:gd name="connsiteY4" fmla="*/ 1460783 h 1460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82" h="1460782">
                  <a:moveTo>
                    <a:pt x="24388" y="1460783"/>
                  </a:moveTo>
                  <a:lnTo>
                    <a:pt x="1460783" y="24394"/>
                  </a:lnTo>
                  <a:cubicBezTo>
                    <a:pt x="1457470" y="16232"/>
                    <a:pt x="1454060" y="8101"/>
                    <a:pt x="1450539" y="0"/>
                  </a:cubicBezTo>
                  <a:lnTo>
                    <a:pt x="0" y="1450539"/>
                  </a:lnTo>
                  <a:cubicBezTo>
                    <a:pt x="8095" y="1454054"/>
                    <a:pt x="16226" y="1457464"/>
                    <a:pt x="24388" y="1460783"/>
                  </a:cubicBezTo>
                  <a:close/>
                </a:path>
              </a:pathLst>
            </a:custGeom>
            <a:solidFill>
              <a:srgbClr val="D2D2D2"/>
            </a:solidFill>
            <a:ln w="6122" cap="flat">
              <a:noFill/>
              <a:prstDash val="solid"/>
              <a:miter/>
            </a:ln>
          </p:spPr>
          <p:txBody>
            <a:bodyPr rtlCol="0" anchor="ctr"/>
            <a:lstStyle/>
            <a:p>
              <a:endParaRPr lang="en-GB"/>
            </a:p>
          </p:txBody>
        </p:sp>
        <p:sp>
          <p:nvSpPr>
            <p:cNvPr id="226" name="Freeform: Shape 225">
              <a:extLst>
                <a:ext uri="{FF2B5EF4-FFF2-40B4-BE49-F238E27FC236}">
                  <a16:creationId xmlns:a16="http://schemas.microsoft.com/office/drawing/2014/main" id="{4EE12B04-0FF4-4568-BEAF-93CC1CBEB617}"/>
                </a:ext>
              </a:extLst>
            </p:cNvPr>
            <p:cNvSpPr/>
            <p:nvPr/>
          </p:nvSpPr>
          <p:spPr>
            <a:xfrm>
              <a:off x="2978440" y="4748216"/>
              <a:ext cx="1502583" cy="1502590"/>
            </a:xfrm>
            <a:custGeom>
              <a:avLst/>
              <a:gdLst>
                <a:gd name="connsiteX0" fmla="*/ 22833 w 1502583"/>
                <a:gd name="connsiteY0" fmla="*/ 1502590 h 1502590"/>
                <a:gd name="connsiteX1" fmla="*/ 1502584 w 1502583"/>
                <a:gd name="connsiteY1" fmla="*/ 22839 h 1502590"/>
                <a:gd name="connsiteX2" fmla="*/ 1490785 w 1502583"/>
                <a:gd name="connsiteY2" fmla="*/ 0 h 1502590"/>
                <a:gd name="connsiteX3" fmla="*/ 0 w 1502583"/>
                <a:gd name="connsiteY3" fmla="*/ 1490797 h 1502590"/>
                <a:gd name="connsiteX4" fmla="*/ 22833 w 1502583"/>
                <a:gd name="connsiteY4" fmla="*/ 1502590 h 1502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583" h="1502590">
                  <a:moveTo>
                    <a:pt x="22833" y="1502590"/>
                  </a:moveTo>
                  <a:lnTo>
                    <a:pt x="1502584" y="22839"/>
                  </a:lnTo>
                  <a:cubicBezTo>
                    <a:pt x="1498745" y="15191"/>
                    <a:pt x="1494820" y="7574"/>
                    <a:pt x="1490785" y="0"/>
                  </a:cubicBezTo>
                  <a:lnTo>
                    <a:pt x="0" y="1490797"/>
                  </a:lnTo>
                  <a:cubicBezTo>
                    <a:pt x="7574" y="1494826"/>
                    <a:pt x="15185" y="1498751"/>
                    <a:pt x="22833" y="1502590"/>
                  </a:cubicBezTo>
                  <a:close/>
                </a:path>
              </a:pathLst>
            </a:custGeom>
            <a:solidFill>
              <a:srgbClr val="D2D2D2"/>
            </a:solidFill>
            <a:ln w="6122" cap="flat">
              <a:noFill/>
              <a:prstDash val="solid"/>
              <a:miter/>
            </a:ln>
          </p:spPr>
          <p:txBody>
            <a:bodyPr rtlCol="0" anchor="ctr"/>
            <a:lstStyle/>
            <a:p>
              <a:endParaRPr lang="en-GB"/>
            </a:p>
          </p:txBody>
        </p:sp>
        <p:sp>
          <p:nvSpPr>
            <p:cNvPr id="227" name="Freeform: Shape 226">
              <a:extLst>
                <a:ext uri="{FF2B5EF4-FFF2-40B4-BE49-F238E27FC236}">
                  <a16:creationId xmlns:a16="http://schemas.microsoft.com/office/drawing/2014/main" id="{2974AE29-0C0E-45B7-AF70-C3615F481225}"/>
                </a:ext>
              </a:extLst>
            </p:cNvPr>
            <p:cNvSpPr/>
            <p:nvPr/>
          </p:nvSpPr>
          <p:spPr>
            <a:xfrm>
              <a:off x="2905492" y="4675273"/>
              <a:ext cx="1534466" cy="1534465"/>
            </a:xfrm>
            <a:custGeom>
              <a:avLst/>
              <a:gdLst>
                <a:gd name="connsiteX0" fmla="*/ 0 w 1534466"/>
                <a:gd name="connsiteY0" fmla="*/ 1521222 h 1534465"/>
                <a:gd name="connsiteX1" fmla="*/ 21393 w 1534466"/>
                <a:gd name="connsiteY1" fmla="*/ 1534466 h 1534465"/>
                <a:gd name="connsiteX2" fmla="*/ 1534466 w 1534466"/>
                <a:gd name="connsiteY2" fmla="*/ 21393 h 1534465"/>
                <a:gd name="connsiteX3" fmla="*/ 1521222 w 1534466"/>
                <a:gd name="connsiteY3" fmla="*/ 0 h 1534465"/>
                <a:gd name="connsiteX4" fmla="*/ 0 w 1534466"/>
                <a:gd name="connsiteY4" fmla="*/ 1521222 h 1534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466" h="1534465">
                  <a:moveTo>
                    <a:pt x="0" y="1521222"/>
                  </a:moveTo>
                  <a:cubicBezTo>
                    <a:pt x="7090" y="1525729"/>
                    <a:pt x="14224" y="1530137"/>
                    <a:pt x="21393" y="1534466"/>
                  </a:cubicBezTo>
                  <a:lnTo>
                    <a:pt x="1534466" y="21393"/>
                  </a:lnTo>
                  <a:cubicBezTo>
                    <a:pt x="1530137" y="14224"/>
                    <a:pt x="1525729" y="7090"/>
                    <a:pt x="1521222" y="0"/>
                  </a:cubicBezTo>
                  <a:lnTo>
                    <a:pt x="0" y="1521222"/>
                  </a:lnTo>
                  <a:close/>
                </a:path>
              </a:pathLst>
            </a:custGeom>
            <a:solidFill>
              <a:srgbClr val="D2D2D2"/>
            </a:solidFill>
            <a:ln w="6122" cap="flat">
              <a:noFill/>
              <a:prstDash val="solid"/>
              <a:miter/>
            </a:ln>
          </p:spPr>
          <p:txBody>
            <a:bodyPr rtlCol="0" anchor="ctr"/>
            <a:lstStyle/>
            <a:p>
              <a:endParaRPr lang="en-GB"/>
            </a:p>
          </p:txBody>
        </p:sp>
        <p:sp>
          <p:nvSpPr>
            <p:cNvPr id="228" name="Freeform: Shape 227">
              <a:extLst>
                <a:ext uri="{FF2B5EF4-FFF2-40B4-BE49-F238E27FC236}">
                  <a16:creationId xmlns:a16="http://schemas.microsoft.com/office/drawing/2014/main" id="{36B4E666-1C0A-4439-B48E-7441BCD4D964}"/>
                </a:ext>
              </a:extLst>
            </p:cNvPr>
            <p:cNvSpPr/>
            <p:nvPr/>
          </p:nvSpPr>
          <p:spPr>
            <a:xfrm>
              <a:off x="2837178" y="4606959"/>
              <a:ext cx="1557004" cy="1557004"/>
            </a:xfrm>
            <a:custGeom>
              <a:avLst/>
              <a:gdLst>
                <a:gd name="connsiteX0" fmla="*/ 0 w 1557004"/>
                <a:gd name="connsiteY0" fmla="*/ 1542402 h 1557004"/>
                <a:gd name="connsiteX1" fmla="*/ 20028 w 1557004"/>
                <a:gd name="connsiteY1" fmla="*/ 1557005 h 1557004"/>
                <a:gd name="connsiteX2" fmla="*/ 1557005 w 1557004"/>
                <a:gd name="connsiteY2" fmla="*/ 20028 h 1557004"/>
                <a:gd name="connsiteX3" fmla="*/ 1542402 w 1557004"/>
                <a:gd name="connsiteY3" fmla="*/ 0 h 1557004"/>
                <a:gd name="connsiteX4" fmla="*/ 0 w 1557004"/>
                <a:gd name="connsiteY4" fmla="*/ 1542402 h 1557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004" h="1557004">
                  <a:moveTo>
                    <a:pt x="0" y="1542402"/>
                  </a:moveTo>
                  <a:cubicBezTo>
                    <a:pt x="6631" y="1547355"/>
                    <a:pt x="13311" y="1552217"/>
                    <a:pt x="20028" y="1557005"/>
                  </a:cubicBezTo>
                  <a:lnTo>
                    <a:pt x="1557005" y="20028"/>
                  </a:lnTo>
                  <a:cubicBezTo>
                    <a:pt x="1552217" y="13311"/>
                    <a:pt x="1547355" y="6631"/>
                    <a:pt x="1542402" y="0"/>
                  </a:cubicBezTo>
                  <a:lnTo>
                    <a:pt x="0" y="1542402"/>
                  </a:lnTo>
                  <a:close/>
                </a:path>
              </a:pathLst>
            </a:custGeom>
            <a:solidFill>
              <a:srgbClr val="D2D2D2"/>
            </a:solidFill>
            <a:ln w="6122" cap="flat">
              <a:noFill/>
              <a:prstDash val="solid"/>
              <a:miter/>
            </a:ln>
          </p:spPr>
          <p:txBody>
            <a:bodyPr rtlCol="0" anchor="ctr"/>
            <a:lstStyle/>
            <a:p>
              <a:endParaRPr lang="en-GB"/>
            </a:p>
          </p:txBody>
        </p:sp>
        <p:sp>
          <p:nvSpPr>
            <p:cNvPr id="229" name="Freeform: Shape 228">
              <a:extLst>
                <a:ext uri="{FF2B5EF4-FFF2-40B4-BE49-F238E27FC236}">
                  <a16:creationId xmlns:a16="http://schemas.microsoft.com/office/drawing/2014/main" id="{39CEDBA6-4502-4FCB-A6DF-AC86E7BB0E2A}"/>
                </a:ext>
              </a:extLst>
            </p:cNvPr>
            <p:cNvSpPr/>
            <p:nvPr/>
          </p:nvSpPr>
          <p:spPr>
            <a:xfrm>
              <a:off x="2773273" y="4547267"/>
              <a:ext cx="1567860" cy="1566452"/>
            </a:xfrm>
            <a:custGeom>
              <a:avLst/>
              <a:gdLst>
                <a:gd name="connsiteX0" fmla="*/ 18724 w 1567860"/>
                <a:gd name="connsiteY0" fmla="*/ 1566453 h 1566452"/>
                <a:gd name="connsiteX1" fmla="*/ 1567861 w 1567860"/>
                <a:gd name="connsiteY1" fmla="*/ 17316 h 1566452"/>
                <a:gd name="connsiteX2" fmla="*/ 1550545 w 1567860"/>
                <a:gd name="connsiteY2" fmla="*/ 0 h 1566452"/>
                <a:gd name="connsiteX3" fmla="*/ 0 w 1567860"/>
                <a:gd name="connsiteY3" fmla="*/ 1550545 h 1566452"/>
                <a:gd name="connsiteX4" fmla="*/ 18724 w 1567860"/>
                <a:gd name="connsiteY4" fmla="*/ 1566453 h 156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860" h="1566452">
                  <a:moveTo>
                    <a:pt x="18724" y="1566453"/>
                  </a:moveTo>
                  <a:lnTo>
                    <a:pt x="1567861" y="17316"/>
                  </a:lnTo>
                  <a:lnTo>
                    <a:pt x="1550545" y="0"/>
                  </a:lnTo>
                  <a:lnTo>
                    <a:pt x="0" y="1550545"/>
                  </a:lnTo>
                  <a:cubicBezTo>
                    <a:pt x="6196" y="1555933"/>
                    <a:pt x="12442" y="1561224"/>
                    <a:pt x="18724" y="1566453"/>
                  </a:cubicBezTo>
                  <a:close/>
                </a:path>
              </a:pathLst>
            </a:custGeom>
            <a:solidFill>
              <a:srgbClr val="D2D2D2"/>
            </a:solidFill>
            <a:ln w="6122" cap="flat">
              <a:noFill/>
              <a:prstDash val="solid"/>
              <a:miter/>
            </a:ln>
          </p:spPr>
          <p:txBody>
            <a:bodyPr rtlCol="0" anchor="ctr"/>
            <a:lstStyle/>
            <a:p>
              <a:endParaRPr lang="en-GB"/>
            </a:p>
          </p:txBody>
        </p:sp>
        <p:sp>
          <p:nvSpPr>
            <p:cNvPr id="230" name="Freeform: Shape 229">
              <a:extLst>
                <a:ext uri="{FF2B5EF4-FFF2-40B4-BE49-F238E27FC236}">
                  <a16:creationId xmlns:a16="http://schemas.microsoft.com/office/drawing/2014/main" id="{5580A8BF-9F79-4F35-9F90-518B4AB9D153}"/>
                </a:ext>
              </a:extLst>
            </p:cNvPr>
            <p:cNvSpPr/>
            <p:nvPr/>
          </p:nvSpPr>
          <p:spPr>
            <a:xfrm>
              <a:off x="2713635" y="4489705"/>
              <a:ext cx="1569605" cy="1569458"/>
            </a:xfrm>
            <a:custGeom>
              <a:avLst/>
              <a:gdLst>
                <a:gd name="connsiteX0" fmla="*/ 0 w 1569605"/>
                <a:gd name="connsiteY0" fmla="*/ 1552290 h 1569458"/>
                <a:gd name="connsiteX1" fmla="*/ 2853 w 1569605"/>
                <a:gd name="connsiteY1" fmla="*/ 1555211 h 1569458"/>
                <a:gd name="connsiteX2" fmla="*/ 17463 w 1569605"/>
                <a:gd name="connsiteY2" fmla="*/ 1569459 h 1569458"/>
                <a:gd name="connsiteX3" fmla="*/ 1569606 w 1569605"/>
                <a:gd name="connsiteY3" fmla="*/ 17316 h 1569458"/>
                <a:gd name="connsiteX4" fmla="*/ 1552290 w 1569605"/>
                <a:gd name="connsiteY4" fmla="*/ 0 h 1569458"/>
                <a:gd name="connsiteX5" fmla="*/ 0 w 1569605"/>
                <a:gd name="connsiteY5" fmla="*/ 1552290 h 156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9605" h="1569458">
                  <a:moveTo>
                    <a:pt x="0" y="1552290"/>
                  </a:moveTo>
                  <a:cubicBezTo>
                    <a:pt x="962" y="1553258"/>
                    <a:pt x="1886" y="1554249"/>
                    <a:pt x="2853" y="1555211"/>
                  </a:cubicBezTo>
                  <a:cubicBezTo>
                    <a:pt x="7678" y="1560036"/>
                    <a:pt x="12577" y="1564744"/>
                    <a:pt x="17463" y="1569459"/>
                  </a:cubicBezTo>
                  <a:lnTo>
                    <a:pt x="1569606" y="17316"/>
                  </a:lnTo>
                  <a:lnTo>
                    <a:pt x="1552290" y="0"/>
                  </a:lnTo>
                  <a:lnTo>
                    <a:pt x="0" y="1552290"/>
                  </a:lnTo>
                  <a:close/>
                </a:path>
              </a:pathLst>
            </a:custGeom>
            <a:solidFill>
              <a:srgbClr val="D2D2D2"/>
            </a:solidFill>
            <a:ln w="6122" cap="flat">
              <a:noFill/>
              <a:prstDash val="solid"/>
              <a:miter/>
            </a:ln>
          </p:spPr>
          <p:txBody>
            <a:bodyPr rtlCol="0" anchor="ctr"/>
            <a:lstStyle/>
            <a:p>
              <a:endParaRPr lang="en-GB"/>
            </a:p>
          </p:txBody>
        </p:sp>
        <p:sp>
          <p:nvSpPr>
            <p:cNvPr id="231" name="Freeform: Shape 230">
              <a:extLst>
                <a:ext uri="{FF2B5EF4-FFF2-40B4-BE49-F238E27FC236}">
                  <a16:creationId xmlns:a16="http://schemas.microsoft.com/office/drawing/2014/main" id="{7E595D57-6304-4AE2-ACC8-BCE5B729386B}"/>
                </a:ext>
              </a:extLst>
            </p:cNvPr>
            <p:cNvSpPr/>
            <p:nvPr/>
          </p:nvSpPr>
          <p:spPr>
            <a:xfrm>
              <a:off x="2658204" y="4432137"/>
              <a:ext cx="1567144" cy="1568264"/>
            </a:xfrm>
            <a:custGeom>
              <a:avLst/>
              <a:gdLst>
                <a:gd name="connsiteX0" fmla="*/ 16201 w 1567144"/>
                <a:gd name="connsiteY0" fmla="*/ 1568265 h 1568264"/>
                <a:gd name="connsiteX1" fmla="*/ 1567144 w 1567144"/>
                <a:gd name="connsiteY1" fmla="*/ 17316 h 1568264"/>
                <a:gd name="connsiteX2" fmla="*/ 1549829 w 1567144"/>
                <a:gd name="connsiteY2" fmla="*/ 0 h 1568264"/>
                <a:gd name="connsiteX3" fmla="*/ 0 w 1567144"/>
                <a:gd name="connsiteY3" fmla="*/ 1549835 h 1568264"/>
                <a:gd name="connsiteX4" fmla="*/ 16201 w 1567144"/>
                <a:gd name="connsiteY4" fmla="*/ 1568265 h 1568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144" h="1568264">
                  <a:moveTo>
                    <a:pt x="16201" y="1568265"/>
                  </a:moveTo>
                  <a:lnTo>
                    <a:pt x="1567144" y="17316"/>
                  </a:lnTo>
                  <a:lnTo>
                    <a:pt x="1549829" y="0"/>
                  </a:lnTo>
                  <a:lnTo>
                    <a:pt x="0" y="1549835"/>
                  </a:lnTo>
                  <a:cubicBezTo>
                    <a:pt x="5309" y="1556031"/>
                    <a:pt x="10733" y="1562160"/>
                    <a:pt x="16201" y="1568265"/>
                  </a:cubicBezTo>
                  <a:close/>
                </a:path>
              </a:pathLst>
            </a:custGeom>
            <a:solidFill>
              <a:srgbClr val="D2D2D2"/>
            </a:solidFill>
            <a:ln w="6122" cap="flat">
              <a:noFill/>
              <a:prstDash val="solid"/>
              <a:miter/>
            </a:ln>
          </p:spPr>
          <p:txBody>
            <a:bodyPr rtlCol="0" anchor="ctr"/>
            <a:lstStyle/>
            <a:p>
              <a:endParaRPr lang="en-GB"/>
            </a:p>
          </p:txBody>
        </p:sp>
        <p:sp>
          <p:nvSpPr>
            <p:cNvPr id="232" name="Freeform: Shape 231">
              <a:extLst>
                <a:ext uri="{FF2B5EF4-FFF2-40B4-BE49-F238E27FC236}">
                  <a16:creationId xmlns:a16="http://schemas.microsoft.com/office/drawing/2014/main" id="{10F892A6-E361-457A-85D2-5B9B9619FC52}"/>
                </a:ext>
              </a:extLst>
            </p:cNvPr>
            <p:cNvSpPr/>
            <p:nvPr/>
          </p:nvSpPr>
          <p:spPr>
            <a:xfrm>
              <a:off x="2607077" y="4376865"/>
              <a:ext cx="1560384" cy="1560519"/>
            </a:xfrm>
            <a:custGeom>
              <a:avLst/>
              <a:gdLst>
                <a:gd name="connsiteX0" fmla="*/ 0 w 1560384"/>
                <a:gd name="connsiteY0" fmla="*/ 1540779 h 1560519"/>
                <a:gd name="connsiteX1" fmla="*/ 14891 w 1560384"/>
                <a:gd name="connsiteY1" fmla="*/ 1560519 h 1560519"/>
                <a:gd name="connsiteX2" fmla="*/ 1560384 w 1560384"/>
                <a:gd name="connsiteY2" fmla="*/ 15032 h 1560519"/>
                <a:gd name="connsiteX3" fmla="*/ 1559374 w 1560384"/>
                <a:gd name="connsiteY3" fmla="*/ 14022 h 1560519"/>
                <a:gd name="connsiteX4" fmla="*/ 1540785 w 1560384"/>
                <a:gd name="connsiteY4" fmla="*/ 0 h 1560519"/>
                <a:gd name="connsiteX5" fmla="*/ 0 w 1560384"/>
                <a:gd name="connsiteY5" fmla="*/ 1540779 h 156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384" h="1560519">
                  <a:moveTo>
                    <a:pt x="0" y="1540779"/>
                  </a:moveTo>
                  <a:cubicBezTo>
                    <a:pt x="4874" y="1547404"/>
                    <a:pt x="9852" y="1553980"/>
                    <a:pt x="14891" y="1560519"/>
                  </a:cubicBezTo>
                  <a:lnTo>
                    <a:pt x="1560384" y="15032"/>
                  </a:lnTo>
                  <a:lnTo>
                    <a:pt x="1559374" y="14022"/>
                  </a:lnTo>
                  <a:cubicBezTo>
                    <a:pt x="1553208" y="9282"/>
                    <a:pt x="1547024" y="4586"/>
                    <a:pt x="1540785" y="0"/>
                  </a:cubicBezTo>
                  <a:lnTo>
                    <a:pt x="0" y="1540779"/>
                  </a:lnTo>
                  <a:close/>
                </a:path>
              </a:pathLst>
            </a:custGeom>
            <a:solidFill>
              <a:srgbClr val="D2D2D2"/>
            </a:solidFill>
            <a:ln w="6122" cap="flat">
              <a:noFill/>
              <a:prstDash val="solid"/>
              <a:miter/>
            </a:ln>
          </p:spPr>
          <p:txBody>
            <a:bodyPr rtlCol="0" anchor="ctr"/>
            <a:lstStyle/>
            <a:p>
              <a:endParaRPr lang="en-GB"/>
            </a:p>
          </p:txBody>
        </p:sp>
        <p:sp>
          <p:nvSpPr>
            <p:cNvPr id="233" name="Freeform: Shape 232">
              <a:extLst>
                <a:ext uri="{FF2B5EF4-FFF2-40B4-BE49-F238E27FC236}">
                  <a16:creationId xmlns:a16="http://schemas.microsoft.com/office/drawing/2014/main" id="{C01444D3-9E64-4A30-AABA-40183033B67E}"/>
                </a:ext>
              </a:extLst>
            </p:cNvPr>
            <p:cNvSpPr/>
            <p:nvPr/>
          </p:nvSpPr>
          <p:spPr>
            <a:xfrm>
              <a:off x="2560390" y="4330172"/>
              <a:ext cx="1539793" cy="1539786"/>
            </a:xfrm>
            <a:custGeom>
              <a:avLst/>
              <a:gdLst>
                <a:gd name="connsiteX0" fmla="*/ 0 w 1539793"/>
                <a:gd name="connsiteY0" fmla="*/ 1518700 h 1539786"/>
                <a:gd name="connsiteX1" fmla="*/ 13544 w 1539793"/>
                <a:gd name="connsiteY1" fmla="*/ 1539787 h 1539786"/>
                <a:gd name="connsiteX2" fmla="*/ 1539793 w 1539793"/>
                <a:gd name="connsiteY2" fmla="*/ 13544 h 1539786"/>
                <a:gd name="connsiteX3" fmla="*/ 1518706 w 1539793"/>
                <a:gd name="connsiteY3" fmla="*/ 0 h 1539786"/>
                <a:gd name="connsiteX4" fmla="*/ 0 w 1539793"/>
                <a:gd name="connsiteY4" fmla="*/ 1518700 h 15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9793" h="1539786">
                  <a:moveTo>
                    <a:pt x="0" y="1518700"/>
                  </a:moveTo>
                  <a:cubicBezTo>
                    <a:pt x="4421" y="1525772"/>
                    <a:pt x="8952" y="1532795"/>
                    <a:pt x="13544" y="1539787"/>
                  </a:cubicBezTo>
                  <a:lnTo>
                    <a:pt x="1539793" y="13544"/>
                  </a:lnTo>
                  <a:cubicBezTo>
                    <a:pt x="1532801" y="8952"/>
                    <a:pt x="1525778" y="4421"/>
                    <a:pt x="1518706" y="0"/>
                  </a:cubicBezTo>
                  <a:lnTo>
                    <a:pt x="0" y="1518700"/>
                  </a:lnTo>
                  <a:close/>
                </a:path>
              </a:pathLst>
            </a:custGeom>
            <a:solidFill>
              <a:srgbClr val="D2D2D2"/>
            </a:solidFill>
            <a:ln w="6122" cap="flat">
              <a:noFill/>
              <a:prstDash val="solid"/>
              <a:miter/>
            </a:ln>
          </p:spPr>
          <p:txBody>
            <a:bodyPr rtlCol="0" anchor="ctr"/>
            <a:lstStyle/>
            <a:p>
              <a:endParaRPr lang="en-GB"/>
            </a:p>
          </p:txBody>
        </p:sp>
        <p:sp>
          <p:nvSpPr>
            <p:cNvPr id="234" name="Freeform: Shape 233">
              <a:extLst>
                <a:ext uri="{FF2B5EF4-FFF2-40B4-BE49-F238E27FC236}">
                  <a16:creationId xmlns:a16="http://schemas.microsoft.com/office/drawing/2014/main" id="{A014A702-BB72-463A-9180-2AEEE0E530E6}"/>
                </a:ext>
              </a:extLst>
            </p:cNvPr>
            <p:cNvSpPr/>
            <p:nvPr/>
          </p:nvSpPr>
          <p:spPr>
            <a:xfrm>
              <a:off x="2518393" y="4288168"/>
              <a:ext cx="1509766" cy="1509772"/>
            </a:xfrm>
            <a:custGeom>
              <a:avLst/>
              <a:gdLst>
                <a:gd name="connsiteX0" fmla="*/ 12111 w 1509766"/>
                <a:gd name="connsiteY0" fmla="*/ 1509772 h 1509772"/>
                <a:gd name="connsiteX1" fmla="*/ 1509766 w 1509766"/>
                <a:gd name="connsiteY1" fmla="*/ 12111 h 1509772"/>
                <a:gd name="connsiteX2" fmla="*/ 1487240 w 1509766"/>
                <a:gd name="connsiteY2" fmla="*/ 0 h 1509772"/>
                <a:gd name="connsiteX3" fmla="*/ 0 w 1509766"/>
                <a:gd name="connsiteY3" fmla="*/ 1487252 h 1509772"/>
                <a:gd name="connsiteX4" fmla="*/ 12111 w 1509766"/>
                <a:gd name="connsiteY4" fmla="*/ 1509772 h 1509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766" h="1509772">
                  <a:moveTo>
                    <a:pt x="12111" y="1509772"/>
                  </a:moveTo>
                  <a:lnTo>
                    <a:pt x="1509766" y="12111"/>
                  </a:lnTo>
                  <a:cubicBezTo>
                    <a:pt x="1502296" y="7984"/>
                    <a:pt x="1494789" y="3943"/>
                    <a:pt x="1487240" y="0"/>
                  </a:cubicBezTo>
                  <a:lnTo>
                    <a:pt x="0" y="1487252"/>
                  </a:lnTo>
                  <a:cubicBezTo>
                    <a:pt x="3937" y="1494795"/>
                    <a:pt x="7984" y="1502302"/>
                    <a:pt x="12111" y="1509772"/>
                  </a:cubicBezTo>
                  <a:close/>
                </a:path>
              </a:pathLst>
            </a:custGeom>
            <a:solidFill>
              <a:srgbClr val="D2D2D2"/>
            </a:solidFill>
            <a:ln w="6122" cap="flat">
              <a:noFill/>
              <a:prstDash val="solid"/>
              <a:miter/>
            </a:ln>
          </p:spPr>
          <p:txBody>
            <a:bodyPr rtlCol="0" anchor="ctr"/>
            <a:lstStyle/>
            <a:p>
              <a:endParaRPr lang="en-GB"/>
            </a:p>
          </p:txBody>
        </p:sp>
        <p:sp>
          <p:nvSpPr>
            <p:cNvPr id="235" name="Freeform: Shape 234">
              <a:extLst>
                <a:ext uri="{FF2B5EF4-FFF2-40B4-BE49-F238E27FC236}">
                  <a16:creationId xmlns:a16="http://schemas.microsoft.com/office/drawing/2014/main" id="{892ED37C-E28A-4E5E-A5BF-069813FE3A0B}"/>
                </a:ext>
              </a:extLst>
            </p:cNvPr>
            <p:cNvSpPr/>
            <p:nvPr/>
          </p:nvSpPr>
          <p:spPr>
            <a:xfrm>
              <a:off x="2481373" y="4251155"/>
              <a:ext cx="1469887" cy="1469887"/>
            </a:xfrm>
            <a:custGeom>
              <a:avLst/>
              <a:gdLst>
                <a:gd name="connsiteX0" fmla="*/ 10568 w 1469887"/>
                <a:gd name="connsiteY0" fmla="*/ 1469888 h 1469887"/>
                <a:gd name="connsiteX1" fmla="*/ 1469888 w 1469887"/>
                <a:gd name="connsiteY1" fmla="*/ 10568 h 1469887"/>
                <a:gd name="connsiteX2" fmla="*/ 1445824 w 1469887"/>
                <a:gd name="connsiteY2" fmla="*/ 0 h 1469887"/>
                <a:gd name="connsiteX3" fmla="*/ 0 w 1469887"/>
                <a:gd name="connsiteY3" fmla="*/ 1445824 h 1469887"/>
                <a:gd name="connsiteX4" fmla="*/ 10568 w 1469887"/>
                <a:gd name="connsiteY4" fmla="*/ 1469888 h 1469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887" h="1469887">
                  <a:moveTo>
                    <a:pt x="10568" y="1469888"/>
                  </a:moveTo>
                  <a:lnTo>
                    <a:pt x="1469888" y="10568"/>
                  </a:lnTo>
                  <a:cubicBezTo>
                    <a:pt x="1461897" y="6943"/>
                    <a:pt x="1453876" y="3423"/>
                    <a:pt x="1445824" y="0"/>
                  </a:cubicBezTo>
                  <a:lnTo>
                    <a:pt x="0" y="1445824"/>
                  </a:lnTo>
                  <a:cubicBezTo>
                    <a:pt x="3423" y="1453882"/>
                    <a:pt x="6950" y="1461903"/>
                    <a:pt x="10568" y="1469888"/>
                  </a:cubicBezTo>
                  <a:close/>
                </a:path>
              </a:pathLst>
            </a:custGeom>
            <a:solidFill>
              <a:srgbClr val="D2D2D2"/>
            </a:solidFill>
            <a:ln w="6122" cap="flat">
              <a:noFill/>
              <a:prstDash val="solid"/>
              <a:miter/>
            </a:ln>
          </p:spPr>
          <p:txBody>
            <a:bodyPr rtlCol="0" anchor="ctr"/>
            <a:lstStyle/>
            <a:p>
              <a:endParaRPr lang="en-GB"/>
            </a:p>
          </p:txBody>
        </p:sp>
        <p:sp>
          <p:nvSpPr>
            <p:cNvPr id="236" name="Freeform: Shape 235">
              <a:extLst>
                <a:ext uri="{FF2B5EF4-FFF2-40B4-BE49-F238E27FC236}">
                  <a16:creationId xmlns:a16="http://schemas.microsoft.com/office/drawing/2014/main" id="{DD3815B0-4468-4C5E-8A94-71066E8D3D35}"/>
                </a:ext>
              </a:extLst>
            </p:cNvPr>
            <p:cNvSpPr/>
            <p:nvPr/>
          </p:nvSpPr>
          <p:spPr>
            <a:xfrm>
              <a:off x="2449736" y="4219524"/>
              <a:ext cx="1419379" cy="1419379"/>
            </a:xfrm>
            <a:custGeom>
              <a:avLst/>
              <a:gdLst>
                <a:gd name="connsiteX0" fmla="*/ 8890 w 1419379"/>
                <a:gd name="connsiteY0" fmla="*/ 1419379 h 1419379"/>
                <a:gd name="connsiteX1" fmla="*/ 1419379 w 1419379"/>
                <a:gd name="connsiteY1" fmla="*/ 8890 h 1419379"/>
                <a:gd name="connsiteX2" fmla="*/ 1393638 w 1419379"/>
                <a:gd name="connsiteY2" fmla="*/ 0 h 1419379"/>
                <a:gd name="connsiteX3" fmla="*/ 0 w 1419379"/>
                <a:gd name="connsiteY3" fmla="*/ 1393632 h 1419379"/>
                <a:gd name="connsiteX4" fmla="*/ 8890 w 1419379"/>
                <a:gd name="connsiteY4" fmla="*/ 1419379 h 141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379" h="1419379">
                  <a:moveTo>
                    <a:pt x="8890" y="1419379"/>
                  </a:moveTo>
                  <a:lnTo>
                    <a:pt x="1419379" y="8890"/>
                  </a:lnTo>
                  <a:cubicBezTo>
                    <a:pt x="1410826" y="5817"/>
                    <a:pt x="1402247" y="2853"/>
                    <a:pt x="1393638" y="0"/>
                  </a:cubicBezTo>
                  <a:lnTo>
                    <a:pt x="0" y="1393632"/>
                  </a:lnTo>
                  <a:cubicBezTo>
                    <a:pt x="2859" y="1402247"/>
                    <a:pt x="5823" y="1410825"/>
                    <a:pt x="8890" y="1419379"/>
                  </a:cubicBezTo>
                  <a:close/>
                </a:path>
              </a:pathLst>
            </a:custGeom>
            <a:solidFill>
              <a:srgbClr val="D2D2D2"/>
            </a:solidFill>
            <a:ln w="6122" cap="flat">
              <a:noFill/>
              <a:prstDash val="solid"/>
              <a:miter/>
            </a:ln>
          </p:spPr>
          <p:txBody>
            <a:bodyPr rtlCol="0" anchor="ctr"/>
            <a:lstStyle/>
            <a:p>
              <a:endParaRPr lang="en-GB"/>
            </a:p>
          </p:txBody>
        </p:sp>
        <p:sp>
          <p:nvSpPr>
            <p:cNvPr id="237" name="Freeform: Shape 236">
              <a:extLst>
                <a:ext uri="{FF2B5EF4-FFF2-40B4-BE49-F238E27FC236}">
                  <a16:creationId xmlns:a16="http://schemas.microsoft.com/office/drawing/2014/main" id="{93E7885F-F50A-40A1-882E-A52A5A75697F}"/>
                </a:ext>
              </a:extLst>
            </p:cNvPr>
            <p:cNvSpPr/>
            <p:nvPr/>
          </p:nvSpPr>
          <p:spPr>
            <a:xfrm>
              <a:off x="2424123" y="4193899"/>
              <a:ext cx="1357060" cy="1357066"/>
            </a:xfrm>
            <a:custGeom>
              <a:avLst/>
              <a:gdLst>
                <a:gd name="connsiteX0" fmla="*/ 6986 w 1357060"/>
                <a:gd name="connsiteY0" fmla="*/ 1357066 h 1357066"/>
                <a:gd name="connsiteX1" fmla="*/ 1357060 w 1357060"/>
                <a:gd name="connsiteY1" fmla="*/ 6986 h 1357066"/>
                <a:gd name="connsiteX2" fmla="*/ 1329409 w 1357060"/>
                <a:gd name="connsiteY2" fmla="*/ 0 h 1357066"/>
                <a:gd name="connsiteX3" fmla="*/ 0 w 1357060"/>
                <a:gd name="connsiteY3" fmla="*/ 1329415 h 1357066"/>
                <a:gd name="connsiteX4" fmla="*/ 6986 w 1357060"/>
                <a:gd name="connsiteY4" fmla="*/ 1357066 h 1357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060" h="1357066">
                  <a:moveTo>
                    <a:pt x="6986" y="1357066"/>
                  </a:moveTo>
                  <a:lnTo>
                    <a:pt x="1357060" y="6986"/>
                  </a:lnTo>
                  <a:cubicBezTo>
                    <a:pt x="1347869" y="4531"/>
                    <a:pt x="1338648" y="2217"/>
                    <a:pt x="1329409" y="0"/>
                  </a:cubicBezTo>
                  <a:lnTo>
                    <a:pt x="0" y="1329415"/>
                  </a:lnTo>
                  <a:cubicBezTo>
                    <a:pt x="2211" y="1338660"/>
                    <a:pt x="4531" y="1347875"/>
                    <a:pt x="6986" y="1357066"/>
                  </a:cubicBezTo>
                  <a:close/>
                </a:path>
              </a:pathLst>
            </a:custGeom>
            <a:solidFill>
              <a:srgbClr val="D2D2D2"/>
            </a:solidFill>
            <a:ln w="6122" cap="flat">
              <a:noFill/>
              <a:prstDash val="solid"/>
              <a:miter/>
            </a:ln>
          </p:spPr>
          <p:txBody>
            <a:bodyPr rtlCol="0" anchor="ctr"/>
            <a:lstStyle/>
            <a:p>
              <a:endParaRPr lang="en-GB"/>
            </a:p>
          </p:txBody>
        </p:sp>
        <p:sp>
          <p:nvSpPr>
            <p:cNvPr id="238" name="Freeform: Shape 237">
              <a:extLst>
                <a:ext uri="{FF2B5EF4-FFF2-40B4-BE49-F238E27FC236}">
                  <a16:creationId xmlns:a16="http://schemas.microsoft.com/office/drawing/2014/main" id="{D955C6D0-A8E4-4104-9FD1-EB6A4203C535}"/>
                </a:ext>
              </a:extLst>
            </p:cNvPr>
            <p:cNvSpPr/>
            <p:nvPr/>
          </p:nvSpPr>
          <p:spPr>
            <a:xfrm>
              <a:off x="2405455" y="4175230"/>
              <a:ext cx="1281104" cy="1281110"/>
            </a:xfrm>
            <a:custGeom>
              <a:avLst/>
              <a:gdLst>
                <a:gd name="connsiteX0" fmla="*/ 4819 w 1281104"/>
                <a:gd name="connsiteY0" fmla="*/ 1281111 h 1281110"/>
                <a:gd name="connsiteX1" fmla="*/ 1281105 w 1281104"/>
                <a:gd name="connsiteY1" fmla="*/ 4825 h 1281110"/>
                <a:gd name="connsiteX2" fmla="*/ 1251292 w 1281104"/>
                <a:gd name="connsiteY2" fmla="*/ 0 h 1281110"/>
                <a:gd name="connsiteX3" fmla="*/ 0 w 1281104"/>
                <a:gd name="connsiteY3" fmla="*/ 1251304 h 1281110"/>
                <a:gd name="connsiteX4" fmla="*/ 4819 w 1281104"/>
                <a:gd name="connsiteY4" fmla="*/ 1281111 h 1281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104" h="1281110">
                  <a:moveTo>
                    <a:pt x="4819" y="1281111"/>
                  </a:moveTo>
                  <a:lnTo>
                    <a:pt x="1281105" y="4825"/>
                  </a:lnTo>
                  <a:cubicBezTo>
                    <a:pt x="1271185" y="3092"/>
                    <a:pt x="1261248" y="1463"/>
                    <a:pt x="1251292" y="0"/>
                  </a:cubicBezTo>
                  <a:lnTo>
                    <a:pt x="0" y="1251304"/>
                  </a:lnTo>
                  <a:cubicBezTo>
                    <a:pt x="1457" y="1261260"/>
                    <a:pt x="3086" y="1271192"/>
                    <a:pt x="4819" y="1281111"/>
                  </a:cubicBezTo>
                  <a:close/>
                </a:path>
              </a:pathLst>
            </a:custGeom>
            <a:solidFill>
              <a:srgbClr val="D2D2D2"/>
            </a:solidFill>
            <a:ln w="6122" cap="flat">
              <a:noFill/>
              <a:prstDash val="solid"/>
              <a:miter/>
            </a:ln>
          </p:spPr>
          <p:txBody>
            <a:bodyPr rtlCol="0" anchor="ctr"/>
            <a:lstStyle/>
            <a:p>
              <a:endParaRPr lang="en-GB"/>
            </a:p>
          </p:txBody>
        </p:sp>
        <p:sp>
          <p:nvSpPr>
            <p:cNvPr id="239" name="Freeform: Shape 238">
              <a:extLst>
                <a:ext uri="{FF2B5EF4-FFF2-40B4-BE49-F238E27FC236}">
                  <a16:creationId xmlns:a16="http://schemas.microsoft.com/office/drawing/2014/main" id="{342F543B-6B6A-400B-85BD-D5B7F1A31044}"/>
                </a:ext>
              </a:extLst>
            </p:cNvPr>
            <p:cNvSpPr/>
            <p:nvPr/>
          </p:nvSpPr>
          <p:spPr>
            <a:xfrm>
              <a:off x="2395113" y="4164895"/>
              <a:ext cx="1188996" cy="1188996"/>
            </a:xfrm>
            <a:custGeom>
              <a:avLst/>
              <a:gdLst>
                <a:gd name="connsiteX0" fmla="*/ 2155 w 1188996"/>
                <a:gd name="connsiteY0" fmla="*/ 1188997 h 1188996"/>
                <a:gd name="connsiteX1" fmla="*/ 1188997 w 1188996"/>
                <a:gd name="connsiteY1" fmla="*/ 2155 h 1188996"/>
                <a:gd name="connsiteX2" fmla="*/ 1156521 w 1188996"/>
                <a:gd name="connsiteY2" fmla="*/ 0 h 1188996"/>
                <a:gd name="connsiteX3" fmla="*/ 0 w 1188996"/>
                <a:gd name="connsiteY3" fmla="*/ 1156521 h 1188996"/>
                <a:gd name="connsiteX4" fmla="*/ 2155 w 1188996"/>
                <a:gd name="connsiteY4" fmla="*/ 1188997 h 1188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996" h="1188996">
                  <a:moveTo>
                    <a:pt x="2155" y="1188997"/>
                  </a:moveTo>
                  <a:lnTo>
                    <a:pt x="1188997" y="2155"/>
                  </a:lnTo>
                  <a:cubicBezTo>
                    <a:pt x="1178178" y="1292"/>
                    <a:pt x="1167353" y="545"/>
                    <a:pt x="1156521" y="0"/>
                  </a:cubicBezTo>
                  <a:lnTo>
                    <a:pt x="0" y="1156521"/>
                  </a:lnTo>
                  <a:cubicBezTo>
                    <a:pt x="551" y="1167359"/>
                    <a:pt x="1292" y="1178178"/>
                    <a:pt x="2155" y="1188997"/>
                  </a:cubicBezTo>
                  <a:close/>
                </a:path>
              </a:pathLst>
            </a:custGeom>
            <a:solidFill>
              <a:srgbClr val="D2D2D2"/>
            </a:solidFill>
            <a:ln w="6122" cap="flat">
              <a:noFill/>
              <a:prstDash val="solid"/>
              <a:miter/>
            </a:ln>
          </p:spPr>
          <p:txBody>
            <a:bodyPr rtlCol="0" anchor="ctr"/>
            <a:lstStyle/>
            <a:p>
              <a:endParaRPr lang="en-GB"/>
            </a:p>
          </p:txBody>
        </p:sp>
        <p:sp>
          <p:nvSpPr>
            <p:cNvPr id="240" name="Freeform: Shape 239">
              <a:extLst>
                <a:ext uri="{FF2B5EF4-FFF2-40B4-BE49-F238E27FC236}">
                  <a16:creationId xmlns:a16="http://schemas.microsoft.com/office/drawing/2014/main" id="{9F72956E-6A1C-4605-AD7A-304D4F13AA46}"/>
                </a:ext>
              </a:extLst>
            </p:cNvPr>
            <p:cNvSpPr/>
            <p:nvPr/>
          </p:nvSpPr>
          <p:spPr>
            <a:xfrm>
              <a:off x="2393962" y="4163750"/>
              <a:ext cx="1078000" cy="1078000"/>
            </a:xfrm>
            <a:custGeom>
              <a:avLst/>
              <a:gdLst>
                <a:gd name="connsiteX0" fmla="*/ 0 w 1078000"/>
                <a:gd name="connsiteY0" fmla="*/ 1078000 h 1078000"/>
                <a:gd name="connsiteX1" fmla="*/ 1078000 w 1078000"/>
                <a:gd name="connsiteY1" fmla="*/ 0 h 1078000"/>
                <a:gd name="connsiteX2" fmla="*/ 1041973 w 1078000"/>
                <a:gd name="connsiteY2" fmla="*/ 1396 h 1078000"/>
                <a:gd name="connsiteX3" fmla="*/ 1396 w 1078000"/>
                <a:gd name="connsiteY3" fmla="*/ 1041967 h 1078000"/>
                <a:gd name="connsiteX4" fmla="*/ 0 w 1078000"/>
                <a:gd name="connsiteY4" fmla="*/ 1078000 h 10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8000" h="1078000">
                  <a:moveTo>
                    <a:pt x="0" y="1078000"/>
                  </a:moveTo>
                  <a:lnTo>
                    <a:pt x="1078000" y="0"/>
                  </a:lnTo>
                  <a:cubicBezTo>
                    <a:pt x="1065987" y="257"/>
                    <a:pt x="1053974" y="747"/>
                    <a:pt x="1041973" y="1396"/>
                  </a:cubicBezTo>
                  <a:lnTo>
                    <a:pt x="1396" y="1041967"/>
                  </a:lnTo>
                  <a:cubicBezTo>
                    <a:pt x="747" y="1053974"/>
                    <a:pt x="257" y="1065981"/>
                    <a:pt x="0" y="1078000"/>
                  </a:cubicBezTo>
                  <a:close/>
                </a:path>
              </a:pathLst>
            </a:custGeom>
            <a:solidFill>
              <a:srgbClr val="D2D2D2"/>
            </a:solidFill>
            <a:ln w="6122" cap="flat">
              <a:noFill/>
              <a:prstDash val="solid"/>
              <a:miter/>
            </a:ln>
          </p:spPr>
          <p:txBody>
            <a:bodyPr rtlCol="0" anchor="ctr"/>
            <a:lstStyle/>
            <a:p>
              <a:endParaRPr lang="en-GB"/>
            </a:p>
          </p:txBody>
        </p:sp>
        <p:sp>
          <p:nvSpPr>
            <p:cNvPr id="241" name="Freeform: Shape 240">
              <a:extLst>
                <a:ext uri="{FF2B5EF4-FFF2-40B4-BE49-F238E27FC236}">
                  <a16:creationId xmlns:a16="http://schemas.microsoft.com/office/drawing/2014/main" id="{E57C9B47-B878-4603-BDFE-8F69DB9F9FDD}"/>
                </a:ext>
              </a:extLst>
            </p:cNvPr>
            <p:cNvSpPr/>
            <p:nvPr/>
          </p:nvSpPr>
          <p:spPr>
            <a:xfrm>
              <a:off x="2403832" y="4173614"/>
              <a:ext cx="942805" cy="942805"/>
            </a:xfrm>
            <a:custGeom>
              <a:avLst/>
              <a:gdLst>
                <a:gd name="connsiteX0" fmla="*/ 0 w 942805"/>
                <a:gd name="connsiteY0" fmla="*/ 942806 h 942805"/>
                <a:gd name="connsiteX1" fmla="*/ 942806 w 942805"/>
                <a:gd name="connsiteY1" fmla="*/ 0 h 942805"/>
                <a:gd name="connsiteX2" fmla="*/ 901843 w 942805"/>
                <a:gd name="connsiteY2" fmla="*/ 6331 h 942805"/>
                <a:gd name="connsiteX3" fmla="*/ 6331 w 942805"/>
                <a:gd name="connsiteY3" fmla="*/ 901843 h 942805"/>
                <a:gd name="connsiteX4" fmla="*/ 0 w 942805"/>
                <a:gd name="connsiteY4" fmla="*/ 942806 h 942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805" h="942805">
                  <a:moveTo>
                    <a:pt x="0" y="942806"/>
                  </a:moveTo>
                  <a:lnTo>
                    <a:pt x="942806" y="0"/>
                  </a:lnTo>
                  <a:cubicBezTo>
                    <a:pt x="929121" y="1861"/>
                    <a:pt x="915461" y="3955"/>
                    <a:pt x="901843" y="6331"/>
                  </a:cubicBezTo>
                  <a:lnTo>
                    <a:pt x="6331" y="901843"/>
                  </a:lnTo>
                  <a:cubicBezTo>
                    <a:pt x="3955" y="915461"/>
                    <a:pt x="1861" y="929121"/>
                    <a:pt x="0" y="942806"/>
                  </a:cubicBezTo>
                  <a:close/>
                </a:path>
              </a:pathLst>
            </a:custGeom>
            <a:solidFill>
              <a:srgbClr val="D2D2D2"/>
            </a:solidFill>
            <a:ln w="6122" cap="flat">
              <a:noFill/>
              <a:prstDash val="solid"/>
              <a:miter/>
            </a:ln>
          </p:spPr>
          <p:txBody>
            <a:bodyPr rtlCol="0" anchor="ctr"/>
            <a:lstStyle/>
            <a:p>
              <a:endParaRPr lang="en-GB"/>
            </a:p>
          </p:txBody>
        </p:sp>
        <p:sp>
          <p:nvSpPr>
            <p:cNvPr id="242" name="Freeform: Shape 241">
              <a:extLst>
                <a:ext uri="{FF2B5EF4-FFF2-40B4-BE49-F238E27FC236}">
                  <a16:creationId xmlns:a16="http://schemas.microsoft.com/office/drawing/2014/main" id="{4DFE7A75-51D7-4E58-AD5A-78D5F0A85A97}"/>
                </a:ext>
              </a:extLst>
            </p:cNvPr>
            <p:cNvSpPr/>
            <p:nvPr/>
          </p:nvSpPr>
          <p:spPr>
            <a:xfrm>
              <a:off x="2433577" y="4203365"/>
              <a:ext cx="767854" cy="767854"/>
            </a:xfrm>
            <a:custGeom>
              <a:avLst/>
              <a:gdLst>
                <a:gd name="connsiteX0" fmla="*/ 0 w 767854"/>
                <a:gd name="connsiteY0" fmla="*/ 767855 h 767854"/>
                <a:gd name="connsiteX1" fmla="*/ 767855 w 767854"/>
                <a:gd name="connsiteY1" fmla="*/ 0 h 767854"/>
                <a:gd name="connsiteX2" fmla="*/ 718277 w 767854"/>
                <a:gd name="connsiteY2" fmla="*/ 14946 h 767854"/>
                <a:gd name="connsiteX3" fmla="*/ 14946 w 767854"/>
                <a:gd name="connsiteY3" fmla="*/ 718277 h 767854"/>
                <a:gd name="connsiteX4" fmla="*/ 0 w 767854"/>
                <a:gd name="connsiteY4" fmla="*/ 767855 h 76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854" h="767854">
                  <a:moveTo>
                    <a:pt x="0" y="767855"/>
                  </a:moveTo>
                  <a:lnTo>
                    <a:pt x="767855" y="0"/>
                  </a:lnTo>
                  <a:cubicBezTo>
                    <a:pt x="751237" y="4586"/>
                    <a:pt x="734705" y="9564"/>
                    <a:pt x="718277" y="14946"/>
                  </a:cubicBezTo>
                  <a:lnTo>
                    <a:pt x="14946" y="718277"/>
                  </a:lnTo>
                  <a:cubicBezTo>
                    <a:pt x="9564" y="734705"/>
                    <a:pt x="4592" y="751237"/>
                    <a:pt x="0" y="767855"/>
                  </a:cubicBezTo>
                  <a:close/>
                </a:path>
              </a:pathLst>
            </a:custGeom>
            <a:solidFill>
              <a:srgbClr val="D2D2D2"/>
            </a:solidFill>
            <a:ln w="6122" cap="flat">
              <a:noFill/>
              <a:prstDash val="solid"/>
              <a:miter/>
            </a:ln>
          </p:spPr>
          <p:txBody>
            <a:bodyPr rtlCol="0" anchor="ctr"/>
            <a:lstStyle/>
            <a:p>
              <a:endParaRPr lang="en-GB"/>
            </a:p>
          </p:txBody>
        </p:sp>
        <p:sp>
          <p:nvSpPr>
            <p:cNvPr id="243" name="Freeform: Shape 242">
              <a:extLst>
                <a:ext uri="{FF2B5EF4-FFF2-40B4-BE49-F238E27FC236}">
                  <a16:creationId xmlns:a16="http://schemas.microsoft.com/office/drawing/2014/main" id="{6449C4D2-2704-408B-BDD5-EC4DDA41C9F9}"/>
                </a:ext>
              </a:extLst>
            </p:cNvPr>
            <p:cNvSpPr/>
            <p:nvPr/>
          </p:nvSpPr>
          <p:spPr>
            <a:xfrm>
              <a:off x="2503165" y="4272947"/>
              <a:ext cx="513231" cy="513231"/>
            </a:xfrm>
            <a:custGeom>
              <a:avLst/>
              <a:gdLst>
                <a:gd name="connsiteX0" fmla="*/ 0 w 513231"/>
                <a:gd name="connsiteY0" fmla="*/ 513232 h 513231"/>
                <a:gd name="connsiteX1" fmla="*/ 513232 w 513231"/>
                <a:gd name="connsiteY1" fmla="*/ 0 h 513231"/>
                <a:gd name="connsiteX2" fmla="*/ 439395 w 513231"/>
                <a:gd name="connsiteY2" fmla="*/ 39205 h 513231"/>
                <a:gd name="connsiteX3" fmla="*/ 39199 w 513231"/>
                <a:gd name="connsiteY3" fmla="*/ 439401 h 513231"/>
                <a:gd name="connsiteX4" fmla="*/ 0 w 513231"/>
                <a:gd name="connsiteY4" fmla="*/ 513232 h 51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31" h="513231">
                  <a:moveTo>
                    <a:pt x="0" y="513232"/>
                  </a:moveTo>
                  <a:lnTo>
                    <a:pt x="513232" y="0"/>
                  </a:lnTo>
                  <a:cubicBezTo>
                    <a:pt x="488238" y="12068"/>
                    <a:pt x="463605" y="25135"/>
                    <a:pt x="439395" y="39205"/>
                  </a:cubicBezTo>
                  <a:lnTo>
                    <a:pt x="39199" y="439401"/>
                  </a:lnTo>
                  <a:cubicBezTo>
                    <a:pt x="25128" y="463611"/>
                    <a:pt x="12068" y="488238"/>
                    <a:pt x="0" y="513232"/>
                  </a:cubicBezTo>
                  <a:close/>
                </a:path>
              </a:pathLst>
            </a:custGeom>
            <a:solidFill>
              <a:srgbClr val="D2D2D2"/>
            </a:solidFill>
            <a:ln w="6122" cap="flat">
              <a:noFill/>
              <a:prstDash val="solid"/>
              <a:miter/>
            </a:ln>
          </p:spPr>
          <p:txBody>
            <a:bodyPr rtlCol="0" anchor="ctr"/>
            <a:lstStyle/>
            <a:p>
              <a:endParaRPr lang="en-GB"/>
            </a:p>
          </p:txBody>
        </p:sp>
      </p:grpSp>
      <p:sp>
        <p:nvSpPr>
          <p:cNvPr id="244" name="Graphic 214" descr="An assortment of differently patterned circles">
            <a:extLst>
              <a:ext uri="{FF2B5EF4-FFF2-40B4-BE49-F238E27FC236}">
                <a16:creationId xmlns:a16="http://schemas.microsoft.com/office/drawing/2014/main" id="{A861B044-19FE-48C8-8C39-448B9D0C070C}"/>
              </a:ext>
            </a:extLst>
          </p:cNvPr>
          <p:cNvSpPr/>
          <p:nvPr/>
        </p:nvSpPr>
        <p:spPr>
          <a:xfrm>
            <a:off x="753045" y="3414576"/>
            <a:ext cx="1653194" cy="1653199"/>
          </a:xfrm>
          <a:custGeom>
            <a:avLst/>
            <a:gdLst>
              <a:gd name="connsiteX0" fmla="*/ 242101 w 1653194"/>
              <a:gd name="connsiteY0" fmla="*/ 242106 h 1653199"/>
              <a:gd name="connsiteX1" fmla="*/ 242101 w 1653194"/>
              <a:gd name="connsiteY1" fmla="*/ 242106 h 1653199"/>
              <a:gd name="connsiteX2" fmla="*/ 1411089 w 1653194"/>
              <a:gd name="connsiteY2" fmla="*/ 242106 h 1653199"/>
              <a:gd name="connsiteX3" fmla="*/ 1411089 w 1653194"/>
              <a:gd name="connsiteY3" fmla="*/ 242106 h 1653199"/>
              <a:gd name="connsiteX4" fmla="*/ 1411089 w 1653194"/>
              <a:gd name="connsiteY4" fmla="*/ 1411093 h 1653199"/>
              <a:gd name="connsiteX5" fmla="*/ 1411089 w 1653194"/>
              <a:gd name="connsiteY5" fmla="*/ 1411093 h 1653199"/>
              <a:gd name="connsiteX6" fmla="*/ 242101 w 1653194"/>
              <a:gd name="connsiteY6" fmla="*/ 1411093 h 1653199"/>
              <a:gd name="connsiteX7" fmla="*/ 242101 w 1653194"/>
              <a:gd name="connsiteY7" fmla="*/ 1411093 h 1653199"/>
              <a:gd name="connsiteX8" fmla="*/ 242101 w 1653194"/>
              <a:gd name="connsiteY8" fmla="*/ 242106 h 165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3194" h="1653199">
                <a:moveTo>
                  <a:pt x="242101" y="242106"/>
                </a:moveTo>
                <a:lnTo>
                  <a:pt x="242101" y="242106"/>
                </a:lnTo>
                <a:cubicBezTo>
                  <a:pt x="564909" y="-80702"/>
                  <a:pt x="1088281" y="-80702"/>
                  <a:pt x="1411089" y="242106"/>
                </a:cubicBezTo>
                <a:lnTo>
                  <a:pt x="1411089" y="242106"/>
                </a:lnTo>
                <a:cubicBezTo>
                  <a:pt x="1733897" y="564914"/>
                  <a:pt x="1733897" y="1088285"/>
                  <a:pt x="1411089" y="1411093"/>
                </a:cubicBezTo>
                <a:lnTo>
                  <a:pt x="1411089" y="1411093"/>
                </a:lnTo>
                <a:cubicBezTo>
                  <a:pt x="1088281" y="1733902"/>
                  <a:pt x="564909" y="1733902"/>
                  <a:pt x="242101" y="1411093"/>
                </a:cubicBezTo>
                <a:lnTo>
                  <a:pt x="242101" y="1411093"/>
                </a:lnTo>
                <a:cubicBezTo>
                  <a:pt x="-80700" y="1088285"/>
                  <a:pt x="-80700" y="564908"/>
                  <a:pt x="242101" y="242106"/>
                </a:cubicBezTo>
                <a:close/>
              </a:path>
            </a:pathLst>
          </a:custGeom>
          <a:solidFill>
            <a:schemeClr val="bg1">
              <a:lumMod val="50000"/>
            </a:schemeClr>
          </a:solidFill>
          <a:ln w="6122" cap="flat">
            <a:noFill/>
            <a:prstDash val="solid"/>
            <a:miter/>
          </a:ln>
        </p:spPr>
        <p:txBody>
          <a:bodyPr rtlCol="0" anchor="ctr"/>
          <a:lstStyle/>
          <a:p>
            <a:endParaRPr lang="en-GB"/>
          </a:p>
        </p:txBody>
      </p:sp>
      <p:sp>
        <p:nvSpPr>
          <p:cNvPr id="245" name="Graphic 214" descr="An assortment of differently patterned circles">
            <a:extLst>
              <a:ext uri="{FF2B5EF4-FFF2-40B4-BE49-F238E27FC236}">
                <a16:creationId xmlns:a16="http://schemas.microsoft.com/office/drawing/2014/main" id="{A4D4C52B-69A8-4462-909F-1DC13A067F22}"/>
              </a:ext>
            </a:extLst>
          </p:cNvPr>
          <p:cNvSpPr/>
          <p:nvPr/>
        </p:nvSpPr>
        <p:spPr>
          <a:xfrm>
            <a:off x="2481818" y="4586766"/>
            <a:ext cx="1285816" cy="1285816"/>
          </a:xfrm>
          <a:custGeom>
            <a:avLst/>
            <a:gdLst>
              <a:gd name="connsiteX0" fmla="*/ 188304 w 1285816"/>
              <a:gd name="connsiteY0" fmla="*/ 1097513 h 1285816"/>
              <a:gd name="connsiteX1" fmla="*/ 188304 w 1285816"/>
              <a:gd name="connsiteY1" fmla="*/ 1097513 h 1285816"/>
              <a:gd name="connsiteX2" fmla="*/ 188304 w 1285816"/>
              <a:gd name="connsiteY2" fmla="*/ 188304 h 1285816"/>
              <a:gd name="connsiteX3" fmla="*/ 188304 w 1285816"/>
              <a:gd name="connsiteY3" fmla="*/ 188304 h 1285816"/>
              <a:gd name="connsiteX4" fmla="*/ 1097513 w 1285816"/>
              <a:gd name="connsiteY4" fmla="*/ 188304 h 1285816"/>
              <a:gd name="connsiteX5" fmla="*/ 1097513 w 1285816"/>
              <a:gd name="connsiteY5" fmla="*/ 188304 h 1285816"/>
              <a:gd name="connsiteX6" fmla="*/ 1097513 w 1285816"/>
              <a:gd name="connsiteY6" fmla="*/ 1097513 h 1285816"/>
              <a:gd name="connsiteX7" fmla="*/ 1097513 w 1285816"/>
              <a:gd name="connsiteY7" fmla="*/ 1097513 h 1285816"/>
              <a:gd name="connsiteX8" fmla="*/ 188304 w 1285816"/>
              <a:gd name="connsiteY8" fmla="*/ 1097513 h 1285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16" h="1285816">
                <a:moveTo>
                  <a:pt x="188304" y="1097513"/>
                </a:moveTo>
                <a:lnTo>
                  <a:pt x="188304" y="1097513"/>
                </a:lnTo>
                <a:cubicBezTo>
                  <a:pt x="-62768" y="846441"/>
                  <a:pt x="-62768" y="439375"/>
                  <a:pt x="188304" y="188304"/>
                </a:cubicBezTo>
                <a:lnTo>
                  <a:pt x="188304" y="188304"/>
                </a:lnTo>
                <a:cubicBezTo>
                  <a:pt x="439375" y="-62768"/>
                  <a:pt x="846441" y="-62768"/>
                  <a:pt x="1097513" y="188304"/>
                </a:cubicBezTo>
                <a:lnTo>
                  <a:pt x="1097513" y="188304"/>
                </a:lnTo>
                <a:cubicBezTo>
                  <a:pt x="1348584" y="439375"/>
                  <a:pt x="1348584" y="846441"/>
                  <a:pt x="1097513" y="1097513"/>
                </a:cubicBezTo>
                <a:lnTo>
                  <a:pt x="1097513" y="1097513"/>
                </a:lnTo>
                <a:cubicBezTo>
                  <a:pt x="846441" y="1348584"/>
                  <a:pt x="439375" y="1348584"/>
                  <a:pt x="188304" y="1097513"/>
                </a:cubicBezTo>
                <a:close/>
              </a:path>
            </a:pathLst>
          </a:custGeom>
          <a:solidFill>
            <a:schemeClr val="accent6">
              <a:lumMod val="60000"/>
              <a:lumOff val="40000"/>
            </a:schemeClr>
          </a:solidFill>
          <a:ln w="6122" cap="flat">
            <a:noFill/>
            <a:prstDash val="solid"/>
            <a:miter/>
          </a:ln>
        </p:spPr>
        <p:txBody>
          <a:bodyPr rtlCol="0" anchor="ctr"/>
          <a:lstStyle/>
          <a:p>
            <a:endParaRPr lang="en-GB" dirty="0"/>
          </a:p>
        </p:txBody>
      </p:sp>
      <p:sp>
        <p:nvSpPr>
          <p:cNvPr id="246" name="Graphic 214" descr="An assortment of differently patterned circles">
            <a:extLst>
              <a:ext uri="{FF2B5EF4-FFF2-40B4-BE49-F238E27FC236}">
                <a16:creationId xmlns:a16="http://schemas.microsoft.com/office/drawing/2014/main" id="{79EB5E22-49C4-4CD6-B13B-D7FC52CB0B89}"/>
              </a:ext>
            </a:extLst>
          </p:cNvPr>
          <p:cNvSpPr/>
          <p:nvPr/>
        </p:nvSpPr>
        <p:spPr>
          <a:xfrm>
            <a:off x="2259290" y="6292361"/>
            <a:ext cx="367376" cy="367376"/>
          </a:xfrm>
          <a:custGeom>
            <a:avLst/>
            <a:gdLst>
              <a:gd name="connsiteX0" fmla="*/ 189622 w 367376"/>
              <a:gd name="connsiteY0" fmla="*/ 367377 h 367376"/>
              <a:gd name="connsiteX1" fmla="*/ 177755 w 367376"/>
              <a:gd name="connsiteY1" fmla="*/ 367377 h 367376"/>
              <a:gd name="connsiteX2" fmla="*/ 0 w 367376"/>
              <a:gd name="connsiteY2" fmla="*/ 189622 h 367376"/>
              <a:gd name="connsiteX3" fmla="*/ 0 w 367376"/>
              <a:gd name="connsiteY3" fmla="*/ 177755 h 367376"/>
              <a:gd name="connsiteX4" fmla="*/ 177755 w 367376"/>
              <a:gd name="connsiteY4" fmla="*/ 0 h 367376"/>
              <a:gd name="connsiteX5" fmla="*/ 189622 w 367376"/>
              <a:gd name="connsiteY5" fmla="*/ 0 h 367376"/>
              <a:gd name="connsiteX6" fmla="*/ 367377 w 367376"/>
              <a:gd name="connsiteY6" fmla="*/ 177755 h 367376"/>
              <a:gd name="connsiteX7" fmla="*/ 367377 w 367376"/>
              <a:gd name="connsiteY7" fmla="*/ 189622 h 367376"/>
              <a:gd name="connsiteX8" fmla="*/ 189622 w 367376"/>
              <a:gd name="connsiteY8" fmla="*/ 367377 h 36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7376" h="367376">
                <a:moveTo>
                  <a:pt x="189622" y="367377"/>
                </a:moveTo>
                <a:lnTo>
                  <a:pt x="177755" y="367377"/>
                </a:lnTo>
                <a:cubicBezTo>
                  <a:pt x="79586" y="367377"/>
                  <a:pt x="0" y="287791"/>
                  <a:pt x="0" y="189622"/>
                </a:cubicBezTo>
                <a:lnTo>
                  <a:pt x="0" y="177755"/>
                </a:lnTo>
                <a:cubicBezTo>
                  <a:pt x="0" y="79586"/>
                  <a:pt x="79586" y="0"/>
                  <a:pt x="177755" y="0"/>
                </a:cubicBezTo>
                <a:lnTo>
                  <a:pt x="189622" y="0"/>
                </a:lnTo>
                <a:cubicBezTo>
                  <a:pt x="287791" y="0"/>
                  <a:pt x="367377" y="79586"/>
                  <a:pt x="367377" y="177755"/>
                </a:cubicBezTo>
                <a:lnTo>
                  <a:pt x="367377" y="189622"/>
                </a:lnTo>
                <a:cubicBezTo>
                  <a:pt x="367377" y="287791"/>
                  <a:pt x="287791" y="367377"/>
                  <a:pt x="189622" y="367377"/>
                </a:cubicBezTo>
                <a:close/>
              </a:path>
            </a:pathLst>
          </a:custGeom>
          <a:solidFill>
            <a:schemeClr val="accent6"/>
          </a:solidFill>
          <a:ln w="6122" cap="flat">
            <a:noFill/>
            <a:prstDash val="solid"/>
            <a:miter/>
          </a:ln>
        </p:spPr>
        <p:txBody>
          <a:bodyPr rtlCol="0" anchor="ctr"/>
          <a:lstStyle/>
          <a:p>
            <a:endParaRPr lang="en-GB"/>
          </a:p>
        </p:txBody>
      </p:sp>
      <p:grpSp>
        <p:nvGrpSpPr>
          <p:cNvPr id="247" name="Graphic 214" descr="An assortment of differently patterned circles">
            <a:extLst>
              <a:ext uri="{FF2B5EF4-FFF2-40B4-BE49-F238E27FC236}">
                <a16:creationId xmlns:a16="http://schemas.microsoft.com/office/drawing/2014/main" id="{7303C5F3-AC6C-4324-8EFF-DF83DA732A89}"/>
              </a:ext>
            </a:extLst>
          </p:cNvPr>
          <p:cNvGrpSpPr/>
          <p:nvPr/>
        </p:nvGrpSpPr>
        <p:grpSpPr>
          <a:xfrm>
            <a:off x="55029" y="4406492"/>
            <a:ext cx="2204261" cy="2204261"/>
            <a:chOff x="113225" y="4337831"/>
            <a:chExt cx="2204261" cy="2204261"/>
          </a:xfrm>
          <a:solidFill>
            <a:srgbClr val="D2D2D2"/>
          </a:solidFill>
        </p:grpSpPr>
        <p:sp>
          <p:nvSpPr>
            <p:cNvPr id="248" name="Freeform: Shape 247">
              <a:extLst>
                <a:ext uri="{FF2B5EF4-FFF2-40B4-BE49-F238E27FC236}">
                  <a16:creationId xmlns:a16="http://schemas.microsoft.com/office/drawing/2014/main" id="{D9BD6094-EC89-4D6C-8F1E-4B75226BE2DF}"/>
                </a:ext>
              </a:extLst>
            </p:cNvPr>
            <p:cNvSpPr/>
            <p:nvPr/>
          </p:nvSpPr>
          <p:spPr>
            <a:xfrm>
              <a:off x="1146472" y="4682247"/>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49" name="Freeform: Shape 248">
              <a:extLst>
                <a:ext uri="{FF2B5EF4-FFF2-40B4-BE49-F238E27FC236}">
                  <a16:creationId xmlns:a16="http://schemas.microsoft.com/office/drawing/2014/main" id="{F60AA97E-B075-48AD-A735-1EA379BCDF84}"/>
                </a:ext>
              </a:extLst>
            </p:cNvPr>
            <p:cNvSpPr/>
            <p:nvPr/>
          </p:nvSpPr>
          <p:spPr>
            <a:xfrm>
              <a:off x="1146472" y="4337831"/>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0" name="Freeform: Shape 249">
              <a:extLst>
                <a:ext uri="{FF2B5EF4-FFF2-40B4-BE49-F238E27FC236}">
                  <a16:creationId xmlns:a16="http://schemas.microsoft.com/office/drawing/2014/main" id="{1723E047-26BE-46A9-A143-FBAF3A41A754}"/>
                </a:ext>
              </a:extLst>
            </p:cNvPr>
            <p:cNvSpPr/>
            <p:nvPr/>
          </p:nvSpPr>
          <p:spPr>
            <a:xfrm>
              <a:off x="879046" y="4373038"/>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1" name="Freeform: Shape 250">
              <a:extLst>
                <a:ext uri="{FF2B5EF4-FFF2-40B4-BE49-F238E27FC236}">
                  <a16:creationId xmlns:a16="http://schemas.microsoft.com/office/drawing/2014/main" id="{50494037-C0ED-4E6B-95EC-5A4F8DDEABBB}"/>
                </a:ext>
              </a:extLst>
            </p:cNvPr>
            <p:cNvSpPr/>
            <p:nvPr/>
          </p:nvSpPr>
          <p:spPr>
            <a:xfrm>
              <a:off x="629848" y="4476259"/>
              <a:ext cx="137766" cy="137766"/>
            </a:xfrm>
            <a:custGeom>
              <a:avLst/>
              <a:gdLst>
                <a:gd name="connsiteX0" fmla="*/ 137766 w 137766"/>
                <a:gd name="connsiteY0" fmla="*/ 68883 h 137766"/>
                <a:gd name="connsiteX1" fmla="*/ 68883 w 137766"/>
                <a:gd name="connsiteY1" fmla="*/ 137767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7"/>
                    <a:pt x="68883" y="137767"/>
                  </a:cubicBezTo>
                  <a:cubicBezTo>
                    <a:pt x="30840" y="137767"/>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2" name="Freeform: Shape 251">
              <a:extLst>
                <a:ext uri="{FF2B5EF4-FFF2-40B4-BE49-F238E27FC236}">
                  <a16:creationId xmlns:a16="http://schemas.microsoft.com/office/drawing/2014/main" id="{8014BE0D-77FE-4637-B808-914C9EC481C1}"/>
                </a:ext>
              </a:extLst>
            </p:cNvPr>
            <p:cNvSpPr/>
            <p:nvPr/>
          </p:nvSpPr>
          <p:spPr>
            <a:xfrm>
              <a:off x="415858" y="4640464"/>
              <a:ext cx="137766" cy="137766"/>
            </a:xfrm>
            <a:custGeom>
              <a:avLst/>
              <a:gdLst>
                <a:gd name="connsiteX0" fmla="*/ 137766 w 137766"/>
                <a:gd name="connsiteY0" fmla="*/ 68883 h 137766"/>
                <a:gd name="connsiteX1" fmla="*/ 68883 w 137766"/>
                <a:gd name="connsiteY1" fmla="*/ 137767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7"/>
                    <a:pt x="68883" y="137767"/>
                  </a:cubicBezTo>
                  <a:cubicBezTo>
                    <a:pt x="30840" y="137767"/>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3" name="Freeform: Shape 252">
              <a:extLst>
                <a:ext uri="{FF2B5EF4-FFF2-40B4-BE49-F238E27FC236}">
                  <a16:creationId xmlns:a16="http://schemas.microsoft.com/office/drawing/2014/main" id="{63090737-4D68-41EC-BF95-EDD0E0DBEDDD}"/>
                </a:ext>
              </a:extLst>
            </p:cNvPr>
            <p:cNvSpPr/>
            <p:nvPr/>
          </p:nvSpPr>
          <p:spPr>
            <a:xfrm>
              <a:off x="251652" y="4854455"/>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4" name="Freeform: Shape 253">
              <a:extLst>
                <a:ext uri="{FF2B5EF4-FFF2-40B4-BE49-F238E27FC236}">
                  <a16:creationId xmlns:a16="http://schemas.microsoft.com/office/drawing/2014/main" id="{F9D5C93C-1E2A-4B6F-AEBC-80D21E61B543}"/>
                </a:ext>
              </a:extLst>
            </p:cNvPr>
            <p:cNvSpPr/>
            <p:nvPr/>
          </p:nvSpPr>
          <p:spPr>
            <a:xfrm>
              <a:off x="148432" y="5103653"/>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5" name="Freeform: Shape 254">
              <a:extLst>
                <a:ext uri="{FF2B5EF4-FFF2-40B4-BE49-F238E27FC236}">
                  <a16:creationId xmlns:a16="http://schemas.microsoft.com/office/drawing/2014/main" id="{ECAB3140-58CE-4585-AFB1-E01E91E4AF9A}"/>
                </a:ext>
              </a:extLst>
            </p:cNvPr>
            <p:cNvSpPr/>
            <p:nvPr/>
          </p:nvSpPr>
          <p:spPr>
            <a:xfrm>
              <a:off x="113225" y="5371079"/>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6" name="Freeform: Shape 255">
              <a:extLst>
                <a:ext uri="{FF2B5EF4-FFF2-40B4-BE49-F238E27FC236}">
                  <a16:creationId xmlns:a16="http://schemas.microsoft.com/office/drawing/2014/main" id="{B0AB0052-EAB4-488A-BE51-6F541F4986C3}"/>
                </a:ext>
              </a:extLst>
            </p:cNvPr>
            <p:cNvSpPr/>
            <p:nvPr/>
          </p:nvSpPr>
          <p:spPr>
            <a:xfrm>
              <a:off x="148432" y="5638505"/>
              <a:ext cx="137766" cy="137766"/>
            </a:xfrm>
            <a:custGeom>
              <a:avLst/>
              <a:gdLst>
                <a:gd name="connsiteX0" fmla="*/ 137766 w 137766"/>
                <a:gd name="connsiteY0" fmla="*/ 68883 h 137766"/>
                <a:gd name="connsiteX1" fmla="*/ 68883 w 137766"/>
                <a:gd name="connsiteY1" fmla="*/ 137767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7"/>
                    <a:pt x="68883" y="137767"/>
                  </a:cubicBezTo>
                  <a:cubicBezTo>
                    <a:pt x="30840" y="137767"/>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7" name="Freeform: Shape 256">
              <a:extLst>
                <a:ext uri="{FF2B5EF4-FFF2-40B4-BE49-F238E27FC236}">
                  <a16:creationId xmlns:a16="http://schemas.microsoft.com/office/drawing/2014/main" id="{2973DCC1-DF0B-4DA2-8046-B96737DB7E67}"/>
                </a:ext>
              </a:extLst>
            </p:cNvPr>
            <p:cNvSpPr/>
            <p:nvPr/>
          </p:nvSpPr>
          <p:spPr>
            <a:xfrm>
              <a:off x="251652" y="5887703"/>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8" name="Freeform: Shape 257">
              <a:extLst>
                <a:ext uri="{FF2B5EF4-FFF2-40B4-BE49-F238E27FC236}">
                  <a16:creationId xmlns:a16="http://schemas.microsoft.com/office/drawing/2014/main" id="{1D708204-3236-4037-AB19-EF1F232D650F}"/>
                </a:ext>
              </a:extLst>
            </p:cNvPr>
            <p:cNvSpPr/>
            <p:nvPr/>
          </p:nvSpPr>
          <p:spPr>
            <a:xfrm>
              <a:off x="415858" y="6101694"/>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59" name="Freeform: Shape 258">
              <a:extLst>
                <a:ext uri="{FF2B5EF4-FFF2-40B4-BE49-F238E27FC236}">
                  <a16:creationId xmlns:a16="http://schemas.microsoft.com/office/drawing/2014/main" id="{D1D2FE44-BF7F-4047-B209-88735B5E90F7}"/>
                </a:ext>
              </a:extLst>
            </p:cNvPr>
            <p:cNvSpPr/>
            <p:nvPr/>
          </p:nvSpPr>
          <p:spPr>
            <a:xfrm>
              <a:off x="629848" y="6265899"/>
              <a:ext cx="137766" cy="137766"/>
            </a:xfrm>
            <a:custGeom>
              <a:avLst/>
              <a:gdLst>
                <a:gd name="connsiteX0" fmla="*/ 137766 w 137766"/>
                <a:gd name="connsiteY0" fmla="*/ 68883 h 137766"/>
                <a:gd name="connsiteX1" fmla="*/ 68883 w 137766"/>
                <a:gd name="connsiteY1" fmla="*/ 137767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7"/>
                    <a:pt x="68883" y="137767"/>
                  </a:cubicBezTo>
                  <a:cubicBezTo>
                    <a:pt x="30840" y="137767"/>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0" name="Freeform: Shape 259">
              <a:extLst>
                <a:ext uri="{FF2B5EF4-FFF2-40B4-BE49-F238E27FC236}">
                  <a16:creationId xmlns:a16="http://schemas.microsoft.com/office/drawing/2014/main" id="{5C7C8BB8-E12D-4DB4-B590-DA66A351F4CC}"/>
                </a:ext>
              </a:extLst>
            </p:cNvPr>
            <p:cNvSpPr/>
            <p:nvPr/>
          </p:nvSpPr>
          <p:spPr>
            <a:xfrm>
              <a:off x="879046" y="6369120"/>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1" name="Freeform: Shape 260">
              <a:extLst>
                <a:ext uri="{FF2B5EF4-FFF2-40B4-BE49-F238E27FC236}">
                  <a16:creationId xmlns:a16="http://schemas.microsoft.com/office/drawing/2014/main" id="{B3624C93-D754-4E9B-82C2-348A290DA10E}"/>
                </a:ext>
              </a:extLst>
            </p:cNvPr>
            <p:cNvSpPr/>
            <p:nvPr/>
          </p:nvSpPr>
          <p:spPr>
            <a:xfrm>
              <a:off x="1146472" y="6404327"/>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2" name="Freeform: Shape 261">
              <a:extLst>
                <a:ext uri="{FF2B5EF4-FFF2-40B4-BE49-F238E27FC236}">
                  <a16:creationId xmlns:a16="http://schemas.microsoft.com/office/drawing/2014/main" id="{BEED1F31-A918-4629-87EE-063F5F75E253}"/>
                </a:ext>
              </a:extLst>
            </p:cNvPr>
            <p:cNvSpPr/>
            <p:nvPr/>
          </p:nvSpPr>
          <p:spPr>
            <a:xfrm>
              <a:off x="1413898" y="6369120"/>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3" name="Freeform: Shape 262">
              <a:extLst>
                <a:ext uri="{FF2B5EF4-FFF2-40B4-BE49-F238E27FC236}">
                  <a16:creationId xmlns:a16="http://schemas.microsoft.com/office/drawing/2014/main" id="{612F87C7-8B13-4BA4-A1FE-A4C1A67BC263}"/>
                </a:ext>
              </a:extLst>
            </p:cNvPr>
            <p:cNvSpPr/>
            <p:nvPr/>
          </p:nvSpPr>
          <p:spPr>
            <a:xfrm>
              <a:off x="1663096" y="6265899"/>
              <a:ext cx="137766" cy="137766"/>
            </a:xfrm>
            <a:custGeom>
              <a:avLst/>
              <a:gdLst>
                <a:gd name="connsiteX0" fmla="*/ 137766 w 137766"/>
                <a:gd name="connsiteY0" fmla="*/ 68883 h 137766"/>
                <a:gd name="connsiteX1" fmla="*/ 68883 w 137766"/>
                <a:gd name="connsiteY1" fmla="*/ 137767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7"/>
                    <a:pt x="68883" y="137767"/>
                  </a:cubicBezTo>
                  <a:cubicBezTo>
                    <a:pt x="30840" y="137767"/>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4" name="Freeform: Shape 263">
              <a:extLst>
                <a:ext uri="{FF2B5EF4-FFF2-40B4-BE49-F238E27FC236}">
                  <a16:creationId xmlns:a16="http://schemas.microsoft.com/office/drawing/2014/main" id="{9BBDC1FB-8C3C-4E56-A006-9D5AC69CB7BA}"/>
                </a:ext>
              </a:extLst>
            </p:cNvPr>
            <p:cNvSpPr/>
            <p:nvPr/>
          </p:nvSpPr>
          <p:spPr>
            <a:xfrm>
              <a:off x="1877087" y="6101694"/>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5" name="Freeform: Shape 264">
              <a:extLst>
                <a:ext uri="{FF2B5EF4-FFF2-40B4-BE49-F238E27FC236}">
                  <a16:creationId xmlns:a16="http://schemas.microsoft.com/office/drawing/2014/main" id="{1DB7D7C6-1B71-4334-9824-F0AD8063385E}"/>
                </a:ext>
              </a:extLst>
            </p:cNvPr>
            <p:cNvSpPr/>
            <p:nvPr/>
          </p:nvSpPr>
          <p:spPr>
            <a:xfrm>
              <a:off x="2041292" y="5887703"/>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6" name="Freeform: Shape 265">
              <a:extLst>
                <a:ext uri="{FF2B5EF4-FFF2-40B4-BE49-F238E27FC236}">
                  <a16:creationId xmlns:a16="http://schemas.microsoft.com/office/drawing/2014/main" id="{B93E71ED-2EC4-489A-AD68-406A1036FC5D}"/>
                </a:ext>
              </a:extLst>
            </p:cNvPr>
            <p:cNvSpPr/>
            <p:nvPr/>
          </p:nvSpPr>
          <p:spPr>
            <a:xfrm>
              <a:off x="2144513" y="5638505"/>
              <a:ext cx="137766" cy="137766"/>
            </a:xfrm>
            <a:custGeom>
              <a:avLst/>
              <a:gdLst>
                <a:gd name="connsiteX0" fmla="*/ 137766 w 137766"/>
                <a:gd name="connsiteY0" fmla="*/ 68883 h 137766"/>
                <a:gd name="connsiteX1" fmla="*/ 68883 w 137766"/>
                <a:gd name="connsiteY1" fmla="*/ 137767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7"/>
                    <a:pt x="68883" y="137767"/>
                  </a:cubicBezTo>
                  <a:cubicBezTo>
                    <a:pt x="30840" y="137767"/>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7" name="Freeform: Shape 266">
              <a:extLst>
                <a:ext uri="{FF2B5EF4-FFF2-40B4-BE49-F238E27FC236}">
                  <a16:creationId xmlns:a16="http://schemas.microsoft.com/office/drawing/2014/main" id="{8A9F007E-B561-4723-8C06-40AEDBF4E1CA}"/>
                </a:ext>
              </a:extLst>
            </p:cNvPr>
            <p:cNvSpPr/>
            <p:nvPr/>
          </p:nvSpPr>
          <p:spPr>
            <a:xfrm>
              <a:off x="2179720" y="5371079"/>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8" name="Freeform: Shape 267">
              <a:extLst>
                <a:ext uri="{FF2B5EF4-FFF2-40B4-BE49-F238E27FC236}">
                  <a16:creationId xmlns:a16="http://schemas.microsoft.com/office/drawing/2014/main" id="{666BC03C-4F90-4CE3-833D-22E2B820A7A8}"/>
                </a:ext>
              </a:extLst>
            </p:cNvPr>
            <p:cNvSpPr/>
            <p:nvPr/>
          </p:nvSpPr>
          <p:spPr>
            <a:xfrm>
              <a:off x="2144513" y="5103653"/>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69" name="Freeform: Shape 268">
              <a:extLst>
                <a:ext uri="{FF2B5EF4-FFF2-40B4-BE49-F238E27FC236}">
                  <a16:creationId xmlns:a16="http://schemas.microsoft.com/office/drawing/2014/main" id="{81AB1583-9563-4E27-B33D-5594027B9BF8}"/>
                </a:ext>
              </a:extLst>
            </p:cNvPr>
            <p:cNvSpPr/>
            <p:nvPr/>
          </p:nvSpPr>
          <p:spPr>
            <a:xfrm>
              <a:off x="2041292" y="4854455"/>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0" name="Freeform: Shape 269">
              <a:extLst>
                <a:ext uri="{FF2B5EF4-FFF2-40B4-BE49-F238E27FC236}">
                  <a16:creationId xmlns:a16="http://schemas.microsoft.com/office/drawing/2014/main" id="{07B12D76-421E-4A7C-9C75-C1C281219276}"/>
                </a:ext>
              </a:extLst>
            </p:cNvPr>
            <p:cNvSpPr/>
            <p:nvPr/>
          </p:nvSpPr>
          <p:spPr>
            <a:xfrm>
              <a:off x="1877087" y="4640464"/>
              <a:ext cx="137766" cy="137766"/>
            </a:xfrm>
            <a:custGeom>
              <a:avLst/>
              <a:gdLst>
                <a:gd name="connsiteX0" fmla="*/ 137766 w 137766"/>
                <a:gd name="connsiteY0" fmla="*/ 68883 h 137766"/>
                <a:gd name="connsiteX1" fmla="*/ 68883 w 137766"/>
                <a:gd name="connsiteY1" fmla="*/ 137767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7"/>
                    <a:pt x="68883" y="137767"/>
                  </a:cubicBezTo>
                  <a:cubicBezTo>
                    <a:pt x="30840" y="137767"/>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1" name="Freeform: Shape 270">
              <a:extLst>
                <a:ext uri="{FF2B5EF4-FFF2-40B4-BE49-F238E27FC236}">
                  <a16:creationId xmlns:a16="http://schemas.microsoft.com/office/drawing/2014/main" id="{9A6C3227-4683-4351-B451-69B3819664EA}"/>
                </a:ext>
              </a:extLst>
            </p:cNvPr>
            <p:cNvSpPr/>
            <p:nvPr/>
          </p:nvSpPr>
          <p:spPr>
            <a:xfrm>
              <a:off x="1663096" y="4476259"/>
              <a:ext cx="137766" cy="137766"/>
            </a:xfrm>
            <a:custGeom>
              <a:avLst/>
              <a:gdLst>
                <a:gd name="connsiteX0" fmla="*/ 137766 w 137766"/>
                <a:gd name="connsiteY0" fmla="*/ 68883 h 137766"/>
                <a:gd name="connsiteX1" fmla="*/ 68883 w 137766"/>
                <a:gd name="connsiteY1" fmla="*/ 137767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7"/>
                    <a:pt x="68883" y="137767"/>
                  </a:cubicBezTo>
                  <a:cubicBezTo>
                    <a:pt x="30840" y="137767"/>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2" name="Freeform: Shape 271">
              <a:extLst>
                <a:ext uri="{FF2B5EF4-FFF2-40B4-BE49-F238E27FC236}">
                  <a16:creationId xmlns:a16="http://schemas.microsoft.com/office/drawing/2014/main" id="{E37276C6-D7AF-42C1-981E-029F640C98FE}"/>
                </a:ext>
              </a:extLst>
            </p:cNvPr>
            <p:cNvSpPr/>
            <p:nvPr/>
          </p:nvSpPr>
          <p:spPr>
            <a:xfrm>
              <a:off x="1413898" y="4373038"/>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3" name="Freeform: Shape 272">
              <a:extLst>
                <a:ext uri="{FF2B5EF4-FFF2-40B4-BE49-F238E27FC236}">
                  <a16:creationId xmlns:a16="http://schemas.microsoft.com/office/drawing/2014/main" id="{281990FC-F6FF-4AD4-AD09-2474108F2F76}"/>
                </a:ext>
              </a:extLst>
            </p:cNvPr>
            <p:cNvSpPr/>
            <p:nvPr/>
          </p:nvSpPr>
          <p:spPr>
            <a:xfrm>
              <a:off x="802056" y="4774532"/>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4" name="Freeform: Shape 273">
              <a:extLst>
                <a:ext uri="{FF2B5EF4-FFF2-40B4-BE49-F238E27FC236}">
                  <a16:creationId xmlns:a16="http://schemas.microsoft.com/office/drawing/2014/main" id="{2B7281FD-744C-4C5B-8E8A-B898944083A7}"/>
                </a:ext>
              </a:extLst>
            </p:cNvPr>
            <p:cNvSpPr/>
            <p:nvPr/>
          </p:nvSpPr>
          <p:spPr>
            <a:xfrm>
              <a:off x="549926" y="5026663"/>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5" name="Freeform: Shape 274">
              <a:extLst>
                <a:ext uri="{FF2B5EF4-FFF2-40B4-BE49-F238E27FC236}">
                  <a16:creationId xmlns:a16="http://schemas.microsoft.com/office/drawing/2014/main" id="{BCB20342-B87B-40BA-A635-24FE7414C5E0}"/>
                </a:ext>
              </a:extLst>
            </p:cNvPr>
            <p:cNvSpPr/>
            <p:nvPr/>
          </p:nvSpPr>
          <p:spPr>
            <a:xfrm>
              <a:off x="457641" y="5371079"/>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6" name="Freeform: Shape 275">
              <a:extLst>
                <a:ext uri="{FF2B5EF4-FFF2-40B4-BE49-F238E27FC236}">
                  <a16:creationId xmlns:a16="http://schemas.microsoft.com/office/drawing/2014/main" id="{105E4E99-8281-4D9C-81FD-09C8C87CC5BE}"/>
                </a:ext>
              </a:extLst>
            </p:cNvPr>
            <p:cNvSpPr/>
            <p:nvPr/>
          </p:nvSpPr>
          <p:spPr>
            <a:xfrm>
              <a:off x="549926" y="5715495"/>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7" name="Freeform: Shape 276">
              <a:extLst>
                <a:ext uri="{FF2B5EF4-FFF2-40B4-BE49-F238E27FC236}">
                  <a16:creationId xmlns:a16="http://schemas.microsoft.com/office/drawing/2014/main" id="{3E3822F9-21C9-4D3C-A6A6-227EBD021483}"/>
                </a:ext>
              </a:extLst>
            </p:cNvPr>
            <p:cNvSpPr/>
            <p:nvPr/>
          </p:nvSpPr>
          <p:spPr>
            <a:xfrm>
              <a:off x="802056" y="5967626"/>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8" name="Freeform: Shape 277">
              <a:extLst>
                <a:ext uri="{FF2B5EF4-FFF2-40B4-BE49-F238E27FC236}">
                  <a16:creationId xmlns:a16="http://schemas.microsoft.com/office/drawing/2014/main" id="{7A86D5D0-75B2-40A1-BCE3-02C59C9DCE85}"/>
                </a:ext>
              </a:extLst>
            </p:cNvPr>
            <p:cNvSpPr/>
            <p:nvPr/>
          </p:nvSpPr>
          <p:spPr>
            <a:xfrm>
              <a:off x="1146472" y="6059911"/>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79" name="Freeform: Shape 278">
              <a:extLst>
                <a:ext uri="{FF2B5EF4-FFF2-40B4-BE49-F238E27FC236}">
                  <a16:creationId xmlns:a16="http://schemas.microsoft.com/office/drawing/2014/main" id="{4AAE0975-2F05-40B2-BCFC-D238A79D9008}"/>
                </a:ext>
              </a:extLst>
            </p:cNvPr>
            <p:cNvSpPr/>
            <p:nvPr/>
          </p:nvSpPr>
          <p:spPr>
            <a:xfrm>
              <a:off x="1490888" y="5967626"/>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0" name="Freeform: Shape 279">
              <a:extLst>
                <a:ext uri="{FF2B5EF4-FFF2-40B4-BE49-F238E27FC236}">
                  <a16:creationId xmlns:a16="http://schemas.microsoft.com/office/drawing/2014/main" id="{32C89B82-6982-4646-B18A-818D6F01EABB}"/>
                </a:ext>
              </a:extLst>
            </p:cNvPr>
            <p:cNvSpPr/>
            <p:nvPr/>
          </p:nvSpPr>
          <p:spPr>
            <a:xfrm>
              <a:off x="1743019" y="5715495"/>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1" name="Freeform: Shape 280">
              <a:extLst>
                <a:ext uri="{FF2B5EF4-FFF2-40B4-BE49-F238E27FC236}">
                  <a16:creationId xmlns:a16="http://schemas.microsoft.com/office/drawing/2014/main" id="{6C7B9E7D-9D3D-4508-AF8C-45B59B05CDE5}"/>
                </a:ext>
              </a:extLst>
            </p:cNvPr>
            <p:cNvSpPr/>
            <p:nvPr/>
          </p:nvSpPr>
          <p:spPr>
            <a:xfrm>
              <a:off x="1835304" y="5371079"/>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2" name="Freeform: Shape 281">
              <a:extLst>
                <a:ext uri="{FF2B5EF4-FFF2-40B4-BE49-F238E27FC236}">
                  <a16:creationId xmlns:a16="http://schemas.microsoft.com/office/drawing/2014/main" id="{4FC138A0-8C7C-4EB1-88D1-E7844F48335B}"/>
                </a:ext>
              </a:extLst>
            </p:cNvPr>
            <p:cNvSpPr/>
            <p:nvPr/>
          </p:nvSpPr>
          <p:spPr>
            <a:xfrm>
              <a:off x="1743019" y="5026663"/>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3" name="Freeform: Shape 282">
              <a:extLst>
                <a:ext uri="{FF2B5EF4-FFF2-40B4-BE49-F238E27FC236}">
                  <a16:creationId xmlns:a16="http://schemas.microsoft.com/office/drawing/2014/main" id="{C8CDD106-9AD2-4AB7-93DC-2B9051D3726A}"/>
                </a:ext>
              </a:extLst>
            </p:cNvPr>
            <p:cNvSpPr/>
            <p:nvPr/>
          </p:nvSpPr>
          <p:spPr>
            <a:xfrm>
              <a:off x="1490888" y="4774532"/>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4" name="Freeform: Shape 283">
              <a:extLst>
                <a:ext uri="{FF2B5EF4-FFF2-40B4-BE49-F238E27FC236}">
                  <a16:creationId xmlns:a16="http://schemas.microsoft.com/office/drawing/2014/main" id="{0BA91C42-5809-4B81-8026-C5920BDD8ABA}"/>
                </a:ext>
              </a:extLst>
            </p:cNvPr>
            <p:cNvSpPr/>
            <p:nvPr/>
          </p:nvSpPr>
          <p:spPr>
            <a:xfrm>
              <a:off x="1146472" y="5026663"/>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5" name="Freeform: Shape 284">
              <a:extLst>
                <a:ext uri="{FF2B5EF4-FFF2-40B4-BE49-F238E27FC236}">
                  <a16:creationId xmlns:a16="http://schemas.microsoft.com/office/drawing/2014/main" id="{F99CCCF7-A38F-4CF7-B9B8-ABF639A2A16A}"/>
                </a:ext>
              </a:extLst>
            </p:cNvPr>
            <p:cNvSpPr/>
            <p:nvPr/>
          </p:nvSpPr>
          <p:spPr>
            <a:xfrm>
              <a:off x="848199" y="5198871"/>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6" name="Freeform: Shape 285">
              <a:extLst>
                <a:ext uri="{FF2B5EF4-FFF2-40B4-BE49-F238E27FC236}">
                  <a16:creationId xmlns:a16="http://schemas.microsoft.com/office/drawing/2014/main" id="{D0A2062F-4BAD-4B81-A104-B798C671A648}"/>
                </a:ext>
              </a:extLst>
            </p:cNvPr>
            <p:cNvSpPr/>
            <p:nvPr/>
          </p:nvSpPr>
          <p:spPr>
            <a:xfrm>
              <a:off x="848199" y="5543287"/>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7" name="Freeform: Shape 286">
              <a:extLst>
                <a:ext uri="{FF2B5EF4-FFF2-40B4-BE49-F238E27FC236}">
                  <a16:creationId xmlns:a16="http://schemas.microsoft.com/office/drawing/2014/main" id="{6DC0D63F-77F8-4F5B-A6AD-1CA288E132B8}"/>
                </a:ext>
              </a:extLst>
            </p:cNvPr>
            <p:cNvSpPr/>
            <p:nvPr/>
          </p:nvSpPr>
          <p:spPr>
            <a:xfrm>
              <a:off x="1146472" y="5715495"/>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8" name="Freeform: Shape 287">
              <a:extLst>
                <a:ext uri="{FF2B5EF4-FFF2-40B4-BE49-F238E27FC236}">
                  <a16:creationId xmlns:a16="http://schemas.microsoft.com/office/drawing/2014/main" id="{D34541DD-644C-4F27-B3F4-58729A6B700C}"/>
                </a:ext>
              </a:extLst>
            </p:cNvPr>
            <p:cNvSpPr/>
            <p:nvPr/>
          </p:nvSpPr>
          <p:spPr>
            <a:xfrm>
              <a:off x="1444746" y="5543287"/>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89" name="Freeform: Shape 288">
              <a:extLst>
                <a:ext uri="{FF2B5EF4-FFF2-40B4-BE49-F238E27FC236}">
                  <a16:creationId xmlns:a16="http://schemas.microsoft.com/office/drawing/2014/main" id="{C34E6452-362F-46BA-91B8-ED91FA2A0DB5}"/>
                </a:ext>
              </a:extLst>
            </p:cNvPr>
            <p:cNvSpPr/>
            <p:nvPr/>
          </p:nvSpPr>
          <p:spPr>
            <a:xfrm>
              <a:off x="1146460" y="5371067"/>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sp>
          <p:nvSpPr>
            <p:cNvPr id="290" name="Freeform: Shape 289">
              <a:extLst>
                <a:ext uri="{FF2B5EF4-FFF2-40B4-BE49-F238E27FC236}">
                  <a16:creationId xmlns:a16="http://schemas.microsoft.com/office/drawing/2014/main" id="{5A65B345-7CE9-420A-87A7-32092D653F46}"/>
                </a:ext>
              </a:extLst>
            </p:cNvPr>
            <p:cNvSpPr/>
            <p:nvPr/>
          </p:nvSpPr>
          <p:spPr>
            <a:xfrm>
              <a:off x="1444746" y="5198871"/>
              <a:ext cx="137766" cy="137766"/>
            </a:xfrm>
            <a:custGeom>
              <a:avLst/>
              <a:gdLst>
                <a:gd name="connsiteX0" fmla="*/ 137766 w 137766"/>
                <a:gd name="connsiteY0" fmla="*/ 68883 h 137766"/>
                <a:gd name="connsiteX1" fmla="*/ 68883 w 137766"/>
                <a:gd name="connsiteY1" fmla="*/ 137766 h 137766"/>
                <a:gd name="connsiteX2" fmla="*/ 0 w 137766"/>
                <a:gd name="connsiteY2" fmla="*/ 68883 h 137766"/>
                <a:gd name="connsiteX3" fmla="*/ 68883 w 137766"/>
                <a:gd name="connsiteY3" fmla="*/ 0 h 137766"/>
                <a:gd name="connsiteX4" fmla="*/ 137766 w 137766"/>
                <a:gd name="connsiteY4" fmla="*/ 68883 h 137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66" h="137766">
                  <a:moveTo>
                    <a:pt x="137766" y="68883"/>
                  </a:moveTo>
                  <a:cubicBezTo>
                    <a:pt x="137766" y="106926"/>
                    <a:pt x="106926" y="137766"/>
                    <a:pt x="68883" y="137766"/>
                  </a:cubicBezTo>
                  <a:cubicBezTo>
                    <a:pt x="30840" y="137766"/>
                    <a:pt x="0" y="106926"/>
                    <a:pt x="0" y="68883"/>
                  </a:cubicBezTo>
                  <a:cubicBezTo>
                    <a:pt x="0" y="30840"/>
                    <a:pt x="30840" y="0"/>
                    <a:pt x="68883" y="0"/>
                  </a:cubicBezTo>
                  <a:cubicBezTo>
                    <a:pt x="106926" y="0"/>
                    <a:pt x="137766" y="30840"/>
                    <a:pt x="137766" y="68883"/>
                  </a:cubicBezTo>
                  <a:close/>
                </a:path>
              </a:pathLst>
            </a:custGeom>
            <a:solidFill>
              <a:srgbClr val="D2D2D2"/>
            </a:solidFill>
            <a:ln w="6122" cap="flat">
              <a:noFill/>
              <a:prstDash val="solid"/>
              <a:miter/>
            </a:ln>
          </p:spPr>
          <p:txBody>
            <a:bodyPr rtlCol="0" anchor="ctr"/>
            <a:lstStyle/>
            <a:p>
              <a:endParaRPr lang="en-GB"/>
            </a:p>
          </p:txBody>
        </p:sp>
      </p:grpSp>
      <p:grpSp>
        <p:nvGrpSpPr>
          <p:cNvPr id="291" name="Graphic 214" descr="An assortment of differently patterned circles">
            <a:extLst>
              <a:ext uri="{FF2B5EF4-FFF2-40B4-BE49-F238E27FC236}">
                <a16:creationId xmlns:a16="http://schemas.microsoft.com/office/drawing/2014/main" id="{99C3ACEE-D0A2-4121-9892-8AE8D5025EEA}"/>
              </a:ext>
            </a:extLst>
          </p:cNvPr>
          <p:cNvGrpSpPr/>
          <p:nvPr/>
        </p:nvGrpSpPr>
        <p:grpSpPr>
          <a:xfrm>
            <a:off x="1102053" y="2245091"/>
            <a:ext cx="2216507" cy="2216507"/>
            <a:chOff x="1160249" y="2176430"/>
            <a:chExt cx="2216507" cy="2216507"/>
          </a:xfrm>
          <a:solidFill>
            <a:schemeClr val="accent6">
              <a:lumMod val="60000"/>
              <a:lumOff val="40000"/>
            </a:schemeClr>
          </a:solidFill>
        </p:grpSpPr>
        <p:sp>
          <p:nvSpPr>
            <p:cNvPr id="292" name="Freeform: Shape 291">
              <a:extLst>
                <a:ext uri="{FF2B5EF4-FFF2-40B4-BE49-F238E27FC236}">
                  <a16:creationId xmlns:a16="http://schemas.microsoft.com/office/drawing/2014/main" id="{91CD513E-2836-498A-AF8E-CBEF7D0DA3BA}"/>
                </a:ext>
              </a:extLst>
            </p:cNvPr>
            <p:cNvSpPr/>
            <p:nvPr/>
          </p:nvSpPr>
          <p:spPr>
            <a:xfrm>
              <a:off x="1160249" y="2176430"/>
              <a:ext cx="2216507" cy="2216507"/>
            </a:xfrm>
            <a:custGeom>
              <a:avLst/>
              <a:gdLst>
                <a:gd name="connsiteX0" fmla="*/ 1108254 w 2216507"/>
                <a:gd name="connsiteY0" fmla="*/ 2216508 h 2216507"/>
                <a:gd name="connsiteX1" fmla="*/ 0 w 2216507"/>
                <a:gd name="connsiteY1" fmla="*/ 1108254 h 2216507"/>
                <a:gd name="connsiteX2" fmla="*/ 1108254 w 2216507"/>
                <a:gd name="connsiteY2" fmla="*/ 0 h 2216507"/>
                <a:gd name="connsiteX3" fmla="*/ 2216508 w 2216507"/>
                <a:gd name="connsiteY3" fmla="*/ 1108254 h 2216507"/>
                <a:gd name="connsiteX4" fmla="*/ 1108254 w 2216507"/>
                <a:gd name="connsiteY4" fmla="*/ 2216508 h 2216507"/>
                <a:gd name="connsiteX5" fmla="*/ 1108254 w 2216507"/>
                <a:gd name="connsiteY5" fmla="*/ 12246 h 2216507"/>
                <a:gd name="connsiteX6" fmla="*/ 12246 w 2216507"/>
                <a:gd name="connsiteY6" fmla="*/ 1108254 h 2216507"/>
                <a:gd name="connsiteX7" fmla="*/ 1108254 w 2216507"/>
                <a:gd name="connsiteY7" fmla="*/ 2204262 h 2216507"/>
                <a:gd name="connsiteX8" fmla="*/ 2204262 w 2216507"/>
                <a:gd name="connsiteY8" fmla="*/ 1108254 h 2216507"/>
                <a:gd name="connsiteX9" fmla="*/ 1108254 w 2216507"/>
                <a:gd name="connsiteY9" fmla="*/ 12246 h 221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16507" h="2216507">
                  <a:moveTo>
                    <a:pt x="1108254" y="2216508"/>
                  </a:moveTo>
                  <a:cubicBezTo>
                    <a:pt x="497159" y="2216508"/>
                    <a:pt x="0" y="1719349"/>
                    <a:pt x="0" y="1108254"/>
                  </a:cubicBezTo>
                  <a:cubicBezTo>
                    <a:pt x="0" y="497159"/>
                    <a:pt x="497159" y="0"/>
                    <a:pt x="1108254" y="0"/>
                  </a:cubicBezTo>
                  <a:cubicBezTo>
                    <a:pt x="1719349" y="0"/>
                    <a:pt x="2216508" y="497159"/>
                    <a:pt x="2216508" y="1108254"/>
                  </a:cubicBezTo>
                  <a:cubicBezTo>
                    <a:pt x="2216508" y="1719349"/>
                    <a:pt x="1719349" y="2216508"/>
                    <a:pt x="1108254" y="2216508"/>
                  </a:cubicBezTo>
                  <a:close/>
                  <a:moveTo>
                    <a:pt x="1108254" y="12246"/>
                  </a:moveTo>
                  <a:cubicBezTo>
                    <a:pt x="503913" y="12246"/>
                    <a:pt x="12246" y="503913"/>
                    <a:pt x="12246" y="1108254"/>
                  </a:cubicBezTo>
                  <a:cubicBezTo>
                    <a:pt x="12246" y="1712595"/>
                    <a:pt x="503913" y="2204262"/>
                    <a:pt x="1108254" y="2204262"/>
                  </a:cubicBezTo>
                  <a:cubicBezTo>
                    <a:pt x="1712595" y="2204262"/>
                    <a:pt x="2204262" y="1712595"/>
                    <a:pt x="2204262" y="1108254"/>
                  </a:cubicBezTo>
                  <a:cubicBezTo>
                    <a:pt x="2204262" y="503913"/>
                    <a:pt x="1712595" y="12246"/>
                    <a:pt x="1108254" y="12246"/>
                  </a:cubicBezTo>
                  <a:close/>
                </a:path>
              </a:pathLst>
            </a:custGeom>
            <a:grpFill/>
            <a:ln w="6122" cap="flat">
              <a:noFill/>
              <a:prstDash val="solid"/>
              <a:miter/>
            </a:ln>
          </p:spPr>
          <p:txBody>
            <a:bodyPr rtlCol="0" anchor="ctr"/>
            <a:lstStyle/>
            <a:p>
              <a:endParaRPr lang="en-GB"/>
            </a:p>
          </p:txBody>
        </p:sp>
        <p:sp>
          <p:nvSpPr>
            <p:cNvPr id="293" name="Freeform: Shape 292">
              <a:extLst>
                <a:ext uri="{FF2B5EF4-FFF2-40B4-BE49-F238E27FC236}">
                  <a16:creationId xmlns:a16="http://schemas.microsoft.com/office/drawing/2014/main" id="{DC89C9F7-4DEF-4FC6-A802-34F9F6D7C971}"/>
                </a:ext>
              </a:extLst>
            </p:cNvPr>
            <p:cNvSpPr/>
            <p:nvPr/>
          </p:nvSpPr>
          <p:spPr>
            <a:xfrm>
              <a:off x="1236547" y="2252728"/>
              <a:ext cx="2063905" cy="2063911"/>
            </a:xfrm>
            <a:custGeom>
              <a:avLst/>
              <a:gdLst>
                <a:gd name="connsiteX0" fmla="*/ 1031956 w 2063905"/>
                <a:gd name="connsiteY0" fmla="*/ 2063911 h 2063911"/>
                <a:gd name="connsiteX1" fmla="*/ 0 w 2063905"/>
                <a:gd name="connsiteY1" fmla="*/ 1031956 h 2063911"/>
                <a:gd name="connsiteX2" fmla="*/ 1031956 w 2063905"/>
                <a:gd name="connsiteY2" fmla="*/ 0 h 2063911"/>
                <a:gd name="connsiteX3" fmla="*/ 2063905 w 2063905"/>
                <a:gd name="connsiteY3" fmla="*/ 1031956 h 2063911"/>
                <a:gd name="connsiteX4" fmla="*/ 1031956 w 2063905"/>
                <a:gd name="connsiteY4" fmla="*/ 2063911 h 2063911"/>
                <a:gd name="connsiteX5" fmla="*/ 1031956 w 2063905"/>
                <a:gd name="connsiteY5" fmla="*/ 12246 h 2063911"/>
                <a:gd name="connsiteX6" fmla="*/ 12246 w 2063905"/>
                <a:gd name="connsiteY6" fmla="*/ 1031956 h 2063911"/>
                <a:gd name="connsiteX7" fmla="*/ 1031956 w 2063905"/>
                <a:gd name="connsiteY7" fmla="*/ 2051666 h 2063911"/>
                <a:gd name="connsiteX8" fmla="*/ 2051660 w 2063905"/>
                <a:gd name="connsiteY8" fmla="*/ 1031956 h 2063911"/>
                <a:gd name="connsiteX9" fmla="*/ 1031956 w 2063905"/>
                <a:gd name="connsiteY9" fmla="*/ 12246 h 206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3905" h="2063911">
                  <a:moveTo>
                    <a:pt x="1031956" y="2063911"/>
                  </a:moveTo>
                  <a:cubicBezTo>
                    <a:pt x="462932" y="2063911"/>
                    <a:pt x="0" y="1600980"/>
                    <a:pt x="0" y="1031956"/>
                  </a:cubicBezTo>
                  <a:cubicBezTo>
                    <a:pt x="0" y="462932"/>
                    <a:pt x="462932" y="0"/>
                    <a:pt x="1031956" y="0"/>
                  </a:cubicBezTo>
                  <a:cubicBezTo>
                    <a:pt x="1600980" y="0"/>
                    <a:pt x="2063905" y="462932"/>
                    <a:pt x="2063905" y="1031956"/>
                  </a:cubicBezTo>
                  <a:cubicBezTo>
                    <a:pt x="2063905" y="1600980"/>
                    <a:pt x="1600980" y="2063911"/>
                    <a:pt x="1031956" y="2063911"/>
                  </a:cubicBezTo>
                  <a:close/>
                  <a:moveTo>
                    <a:pt x="1031956" y="12246"/>
                  </a:moveTo>
                  <a:cubicBezTo>
                    <a:pt x="469685" y="12246"/>
                    <a:pt x="12246" y="469685"/>
                    <a:pt x="12246" y="1031956"/>
                  </a:cubicBezTo>
                  <a:cubicBezTo>
                    <a:pt x="12246" y="1594226"/>
                    <a:pt x="469685" y="2051666"/>
                    <a:pt x="1031956" y="2051666"/>
                  </a:cubicBezTo>
                  <a:cubicBezTo>
                    <a:pt x="1594220" y="2051666"/>
                    <a:pt x="2051660" y="1594226"/>
                    <a:pt x="2051660" y="1031956"/>
                  </a:cubicBezTo>
                  <a:cubicBezTo>
                    <a:pt x="2051660" y="469685"/>
                    <a:pt x="1594220" y="12246"/>
                    <a:pt x="1031956" y="12246"/>
                  </a:cubicBezTo>
                  <a:close/>
                </a:path>
              </a:pathLst>
            </a:custGeom>
            <a:grpFill/>
            <a:ln w="6122" cap="flat">
              <a:noFill/>
              <a:prstDash val="solid"/>
              <a:miter/>
            </a:ln>
          </p:spPr>
          <p:txBody>
            <a:bodyPr rtlCol="0" anchor="ctr"/>
            <a:lstStyle/>
            <a:p>
              <a:endParaRPr lang="en-GB"/>
            </a:p>
          </p:txBody>
        </p:sp>
        <p:sp>
          <p:nvSpPr>
            <p:cNvPr id="294" name="Freeform: Shape 293">
              <a:extLst>
                <a:ext uri="{FF2B5EF4-FFF2-40B4-BE49-F238E27FC236}">
                  <a16:creationId xmlns:a16="http://schemas.microsoft.com/office/drawing/2014/main" id="{0C8F31BF-1070-4ED2-9A75-DDA02351BB05}"/>
                </a:ext>
              </a:extLst>
            </p:cNvPr>
            <p:cNvSpPr/>
            <p:nvPr/>
          </p:nvSpPr>
          <p:spPr>
            <a:xfrm>
              <a:off x="1312851" y="2329033"/>
              <a:ext cx="1911303" cy="1911302"/>
            </a:xfrm>
            <a:custGeom>
              <a:avLst/>
              <a:gdLst>
                <a:gd name="connsiteX0" fmla="*/ 955652 w 1911303"/>
                <a:gd name="connsiteY0" fmla="*/ 1911303 h 1911302"/>
                <a:gd name="connsiteX1" fmla="*/ 0 w 1911303"/>
                <a:gd name="connsiteY1" fmla="*/ 955652 h 1911302"/>
                <a:gd name="connsiteX2" fmla="*/ 955652 w 1911303"/>
                <a:gd name="connsiteY2" fmla="*/ 0 h 1911302"/>
                <a:gd name="connsiteX3" fmla="*/ 1911303 w 1911303"/>
                <a:gd name="connsiteY3" fmla="*/ 955652 h 1911302"/>
                <a:gd name="connsiteX4" fmla="*/ 955652 w 1911303"/>
                <a:gd name="connsiteY4" fmla="*/ 1911303 h 1911302"/>
                <a:gd name="connsiteX5" fmla="*/ 955652 w 1911303"/>
                <a:gd name="connsiteY5" fmla="*/ 12246 h 1911302"/>
                <a:gd name="connsiteX6" fmla="*/ 12246 w 1911303"/>
                <a:gd name="connsiteY6" fmla="*/ 955652 h 1911302"/>
                <a:gd name="connsiteX7" fmla="*/ 955652 w 1911303"/>
                <a:gd name="connsiteY7" fmla="*/ 1899057 h 1911302"/>
                <a:gd name="connsiteX8" fmla="*/ 1899057 w 1911303"/>
                <a:gd name="connsiteY8" fmla="*/ 955652 h 1911302"/>
                <a:gd name="connsiteX9" fmla="*/ 955652 w 1911303"/>
                <a:gd name="connsiteY9" fmla="*/ 12246 h 191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1303" h="1911302">
                  <a:moveTo>
                    <a:pt x="955652" y="1911303"/>
                  </a:moveTo>
                  <a:cubicBezTo>
                    <a:pt x="428704" y="1911303"/>
                    <a:pt x="0" y="1482599"/>
                    <a:pt x="0" y="955652"/>
                  </a:cubicBezTo>
                  <a:cubicBezTo>
                    <a:pt x="0" y="428704"/>
                    <a:pt x="428704" y="0"/>
                    <a:pt x="955652" y="0"/>
                  </a:cubicBezTo>
                  <a:cubicBezTo>
                    <a:pt x="1482605" y="0"/>
                    <a:pt x="1911303" y="428704"/>
                    <a:pt x="1911303" y="955652"/>
                  </a:cubicBezTo>
                  <a:cubicBezTo>
                    <a:pt x="1911303" y="1482599"/>
                    <a:pt x="1482605" y="1911303"/>
                    <a:pt x="955652" y="1911303"/>
                  </a:cubicBezTo>
                  <a:close/>
                  <a:moveTo>
                    <a:pt x="955652" y="12246"/>
                  </a:moveTo>
                  <a:cubicBezTo>
                    <a:pt x="435458" y="12246"/>
                    <a:pt x="12246" y="435458"/>
                    <a:pt x="12246" y="955652"/>
                  </a:cubicBezTo>
                  <a:cubicBezTo>
                    <a:pt x="12246" y="1475845"/>
                    <a:pt x="435458" y="1899057"/>
                    <a:pt x="955652" y="1899057"/>
                  </a:cubicBezTo>
                  <a:cubicBezTo>
                    <a:pt x="1475845" y="1899057"/>
                    <a:pt x="1899057" y="1475845"/>
                    <a:pt x="1899057" y="955652"/>
                  </a:cubicBezTo>
                  <a:cubicBezTo>
                    <a:pt x="1899057" y="435458"/>
                    <a:pt x="1475845" y="12246"/>
                    <a:pt x="955652" y="12246"/>
                  </a:cubicBezTo>
                  <a:close/>
                </a:path>
              </a:pathLst>
            </a:custGeom>
            <a:grpFill/>
            <a:ln w="6122" cap="flat">
              <a:noFill/>
              <a:prstDash val="solid"/>
              <a:miter/>
            </a:ln>
          </p:spPr>
          <p:txBody>
            <a:bodyPr rtlCol="0" anchor="ctr"/>
            <a:lstStyle/>
            <a:p>
              <a:endParaRPr lang="en-GB"/>
            </a:p>
          </p:txBody>
        </p:sp>
        <p:sp>
          <p:nvSpPr>
            <p:cNvPr id="295" name="Freeform: Shape 294">
              <a:extLst>
                <a:ext uri="{FF2B5EF4-FFF2-40B4-BE49-F238E27FC236}">
                  <a16:creationId xmlns:a16="http://schemas.microsoft.com/office/drawing/2014/main" id="{D837E191-F29A-48D0-A003-D63C432A451B}"/>
                </a:ext>
              </a:extLst>
            </p:cNvPr>
            <p:cNvSpPr/>
            <p:nvPr/>
          </p:nvSpPr>
          <p:spPr>
            <a:xfrm>
              <a:off x="1389155" y="2405337"/>
              <a:ext cx="1758694" cy="1758694"/>
            </a:xfrm>
            <a:custGeom>
              <a:avLst/>
              <a:gdLst>
                <a:gd name="connsiteX0" fmla="*/ 879347 w 1758694"/>
                <a:gd name="connsiteY0" fmla="*/ 1758695 h 1758694"/>
                <a:gd name="connsiteX1" fmla="*/ 0 w 1758694"/>
                <a:gd name="connsiteY1" fmla="*/ 879347 h 1758694"/>
                <a:gd name="connsiteX2" fmla="*/ 879347 w 1758694"/>
                <a:gd name="connsiteY2" fmla="*/ 0 h 1758694"/>
                <a:gd name="connsiteX3" fmla="*/ 1758695 w 1758694"/>
                <a:gd name="connsiteY3" fmla="*/ 879347 h 1758694"/>
                <a:gd name="connsiteX4" fmla="*/ 879347 w 1758694"/>
                <a:gd name="connsiteY4" fmla="*/ 1758695 h 1758694"/>
                <a:gd name="connsiteX5" fmla="*/ 879347 w 1758694"/>
                <a:gd name="connsiteY5" fmla="*/ 12246 h 1758694"/>
                <a:gd name="connsiteX6" fmla="*/ 12246 w 1758694"/>
                <a:gd name="connsiteY6" fmla="*/ 879347 h 1758694"/>
                <a:gd name="connsiteX7" fmla="*/ 879347 w 1758694"/>
                <a:gd name="connsiteY7" fmla="*/ 1746449 h 1758694"/>
                <a:gd name="connsiteX8" fmla="*/ 1746449 w 1758694"/>
                <a:gd name="connsiteY8" fmla="*/ 879347 h 1758694"/>
                <a:gd name="connsiteX9" fmla="*/ 879347 w 1758694"/>
                <a:gd name="connsiteY9" fmla="*/ 12246 h 175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8694" h="1758694">
                  <a:moveTo>
                    <a:pt x="879347" y="1758695"/>
                  </a:moveTo>
                  <a:cubicBezTo>
                    <a:pt x="394477" y="1758695"/>
                    <a:pt x="0" y="1364218"/>
                    <a:pt x="0" y="879347"/>
                  </a:cubicBezTo>
                  <a:cubicBezTo>
                    <a:pt x="0" y="394477"/>
                    <a:pt x="394477" y="0"/>
                    <a:pt x="879347" y="0"/>
                  </a:cubicBezTo>
                  <a:cubicBezTo>
                    <a:pt x="1364218" y="0"/>
                    <a:pt x="1758695" y="394477"/>
                    <a:pt x="1758695" y="879347"/>
                  </a:cubicBezTo>
                  <a:cubicBezTo>
                    <a:pt x="1758695" y="1364218"/>
                    <a:pt x="1364218" y="1758695"/>
                    <a:pt x="879347" y="1758695"/>
                  </a:cubicBezTo>
                  <a:close/>
                  <a:moveTo>
                    <a:pt x="879347" y="12246"/>
                  </a:moveTo>
                  <a:cubicBezTo>
                    <a:pt x="401225" y="12246"/>
                    <a:pt x="12246" y="401225"/>
                    <a:pt x="12246" y="879347"/>
                  </a:cubicBezTo>
                  <a:cubicBezTo>
                    <a:pt x="12246" y="1357470"/>
                    <a:pt x="401225" y="1746449"/>
                    <a:pt x="879347" y="1746449"/>
                  </a:cubicBezTo>
                  <a:cubicBezTo>
                    <a:pt x="1357470" y="1746449"/>
                    <a:pt x="1746449" y="1357470"/>
                    <a:pt x="1746449" y="879347"/>
                  </a:cubicBezTo>
                  <a:cubicBezTo>
                    <a:pt x="1746449" y="401225"/>
                    <a:pt x="1357470" y="12246"/>
                    <a:pt x="879347" y="12246"/>
                  </a:cubicBezTo>
                  <a:close/>
                </a:path>
              </a:pathLst>
            </a:custGeom>
            <a:grpFill/>
            <a:ln w="6122" cap="flat">
              <a:noFill/>
              <a:prstDash val="solid"/>
              <a:miter/>
            </a:ln>
          </p:spPr>
          <p:txBody>
            <a:bodyPr rtlCol="0" anchor="ctr"/>
            <a:lstStyle/>
            <a:p>
              <a:endParaRPr lang="en-GB"/>
            </a:p>
          </p:txBody>
        </p:sp>
        <p:sp>
          <p:nvSpPr>
            <p:cNvPr id="296" name="Freeform: Shape 295">
              <a:extLst>
                <a:ext uri="{FF2B5EF4-FFF2-40B4-BE49-F238E27FC236}">
                  <a16:creationId xmlns:a16="http://schemas.microsoft.com/office/drawing/2014/main" id="{8123CD0E-DB8D-47A5-ABC7-19167E18F7B6}"/>
                </a:ext>
              </a:extLst>
            </p:cNvPr>
            <p:cNvSpPr/>
            <p:nvPr/>
          </p:nvSpPr>
          <p:spPr>
            <a:xfrm>
              <a:off x="1465454" y="2481635"/>
              <a:ext cx="1606098" cy="1606098"/>
            </a:xfrm>
            <a:custGeom>
              <a:avLst/>
              <a:gdLst>
                <a:gd name="connsiteX0" fmla="*/ 803049 w 1606098"/>
                <a:gd name="connsiteY0" fmla="*/ 1606099 h 1606098"/>
                <a:gd name="connsiteX1" fmla="*/ 0 w 1606098"/>
                <a:gd name="connsiteY1" fmla="*/ 803049 h 1606098"/>
                <a:gd name="connsiteX2" fmla="*/ 803049 w 1606098"/>
                <a:gd name="connsiteY2" fmla="*/ 0 h 1606098"/>
                <a:gd name="connsiteX3" fmla="*/ 1606098 w 1606098"/>
                <a:gd name="connsiteY3" fmla="*/ 803049 h 1606098"/>
                <a:gd name="connsiteX4" fmla="*/ 803049 w 1606098"/>
                <a:gd name="connsiteY4" fmla="*/ 1606099 h 1606098"/>
                <a:gd name="connsiteX5" fmla="*/ 803049 w 1606098"/>
                <a:gd name="connsiteY5" fmla="*/ 12246 h 1606098"/>
                <a:gd name="connsiteX6" fmla="*/ 12246 w 1606098"/>
                <a:gd name="connsiteY6" fmla="*/ 803049 h 1606098"/>
                <a:gd name="connsiteX7" fmla="*/ 803049 w 1606098"/>
                <a:gd name="connsiteY7" fmla="*/ 1593853 h 1606098"/>
                <a:gd name="connsiteX8" fmla="*/ 1593853 w 1606098"/>
                <a:gd name="connsiteY8" fmla="*/ 803049 h 1606098"/>
                <a:gd name="connsiteX9" fmla="*/ 803049 w 1606098"/>
                <a:gd name="connsiteY9" fmla="*/ 12246 h 16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098" h="1606098">
                  <a:moveTo>
                    <a:pt x="803049" y="1606099"/>
                  </a:moveTo>
                  <a:cubicBezTo>
                    <a:pt x="360250" y="1606099"/>
                    <a:pt x="0" y="1245855"/>
                    <a:pt x="0" y="803049"/>
                  </a:cubicBezTo>
                  <a:cubicBezTo>
                    <a:pt x="0" y="360244"/>
                    <a:pt x="360250" y="0"/>
                    <a:pt x="803049" y="0"/>
                  </a:cubicBezTo>
                  <a:cubicBezTo>
                    <a:pt x="1245849" y="0"/>
                    <a:pt x="1606098" y="360250"/>
                    <a:pt x="1606098" y="803049"/>
                  </a:cubicBezTo>
                  <a:cubicBezTo>
                    <a:pt x="1606098" y="1245849"/>
                    <a:pt x="1245849" y="1606099"/>
                    <a:pt x="803049" y="1606099"/>
                  </a:cubicBezTo>
                  <a:close/>
                  <a:moveTo>
                    <a:pt x="803049" y="12246"/>
                  </a:moveTo>
                  <a:cubicBezTo>
                    <a:pt x="366997" y="12246"/>
                    <a:pt x="12246" y="366997"/>
                    <a:pt x="12246" y="803049"/>
                  </a:cubicBezTo>
                  <a:cubicBezTo>
                    <a:pt x="12246" y="1239101"/>
                    <a:pt x="366997" y="1593853"/>
                    <a:pt x="803049" y="1593853"/>
                  </a:cubicBezTo>
                  <a:cubicBezTo>
                    <a:pt x="1239101" y="1593853"/>
                    <a:pt x="1593853" y="1239101"/>
                    <a:pt x="1593853" y="803049"/>
                  </a:cubicBezTo>
                  <a:cubicBezTo>
                    <a:pt x="1593853" y="366997"/>
                    <a:pt x="1239101" y="12246"/>
                    <a:pt x="803049" y="12246"/>
                  </a:cubicBezTo>
                  <a:close/>
                </a:path>
              </a:pathLst>
            </a:custGeom>
            <a:grpFill/>
            <a:ln w="6122" cap="flat">
              <a:noFill/>
              <a:prstDash val="solid"/>
              <a:miter/>
            </a:ln>
          </p:spPr>
          <p:txBody>
            <a:bodyPr rtlCol="0" anchor="ctr"/>
            <a:lstStyle/>
            <a:p>
              <a:endParaRPr lang="en-GB"/>
            </a:p>
          </p:txBody>
        </p:sp>
        <p:sp>
          <p:nvSpPr>
            <p:cNvPr id="297" name="Freeform: Shape 296">
              <a:extLst>
                <a:ext uri="{FF2B5EF4-FFF2-40B4-BE49-F238E27FC236}">
                  <a16:creationId xmlns:a16="http://schemas.microsoft.com/office/drawing/2014/main" id="{A4841E98-30C5-4E4D-8807-AD96E3B7337C}"/>
                </a:ext>
              </a:extLst>
            </p:cNvPr>
            <p:cNvSpPr/>
            <p:nvPr/>
          </p:nvSpPr>
          <p:spPr>
            <a:xfrm>
              <a:off x="1541758" y="2557939"/>
              <a:ext cx="1453490" cy="1453490"/>
            </a:xfrm>
            <a:custGeom>
              <a:avLst/>
              <a:gdLst>
                <a:gd name="connsiteX0" fmla="*/ 726745 w 1453490"/>
                <a:gd name="connsiteY0" fmla="*/ 1453490 h 1453490"/>
                <a:gd name="connsiteX1" fmla="*/ 0 w 1453490"/>
                <a:gd name="connsiteY1" fmla="*/ 726745 h 1453490"/>
                <a:gd name="connsiteX2" fmla="*/ 726745 w 1453490"/>
                <a:gd name="connsiteY2" fmla="*/ 0 h 1453490"/>
                <a:gd name="connsiteX3" fmla="*/ 1453490 w 1453490"/>
                <a:gd name="connsiteY3" fmla="*/ 726745 h 1453490"/>
                <a:gd name="connsiteX4" fmla="*/ 726745 w 1453490"/>
                <a:gd name="connsiteY4" fmla="*/ 1453490 h 1453490"/>
                <a:gd name="connsiteX5" fmla="*/ 726745 w 1453490"/>
                <a:gd name="connsiteY5" fmla="*/ 12246 h 1453490"/>
                <a:gd name="connsiteX6" fmla="*/ 12246 w 1453490"/>
                <a:gd name="connsiteY6" fmla="*/ 726745 h 1453490"/>
                <a:gd name="connsiteX7" fmla="*/ 726745 w 1453490"/>
                <a:gd name="connsiteY7" fmla="*/ 1441244 h 1453490"/>
                <a:gd name="connsiteX8" fmla="*/ 1441244 w 1453490"/>
                <a:gd name="connsiteY8" fmla="*/ 726745 h 1453490"/>
                <a:gd name="connsiteX9" fmla="*/ 726745 w 1453490"/>
                <a:gd name="connsiteY9" fmla="*/ 12246 h 145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3490" h="1453490">
                  <a:moveTo>
                    <a:pt x="726745" y="1453490"/>
                  </a:moveTo>
                  <a:cubicBezTo>
                    <a:pt x="326016" y="1453490"/>
                    <a:pt x="0" y="1127474"/>
                    <a:pt x="0" y="726745"/>
                  </a:cubicBezTo>
                  <a:cubicBezTo>
                    <a:pt x="0" y="326016"/>
                    <a:pt x="326016" y="0"/>
                    <a:pt x="726745" y="0"/>
                  </a:cubicBezTo>
                  <a:cubicBezTo>
                    <a:pt x="1127474" y="0"/>
                    <a:pt x="1453490" y="326016"/>
                    <a:pt x="1453490" y="726745"/>
                  </a:cubicBezTo>
                  <a:cubicBezTo>
                    <a:pt x="1453490" y="1127474"/>
                    <a:pt x="1127474" y="1453490"/>
                    <a:pt x="726745" y="1453490"/>
                  </a:cubicBezTo>
                  <a:close/>
                  <a:moveTo>
                    <a:pt x="726745" y="12246"/>
                  </a:moveTo>
                  <a:cubicBezTo>
                    <a:pt x="332770" y="12246"/>
                    <a:pt x="12246" y="332770"/>
                    <a:pt x="12246" y="726745"/>
                  </a:cubicBezTo>
                  <a:cubicBezTo>
                    <a:pt x="12246" y="1120720"/>
                    <a:pt x="332770" y="1441244"/>
                    <a:pt x="726745" y="1441244"/>
                  </a:cubicBezTo>
                  <a:cubicBezTo>
                    <a:pt x="1120726" y="1441244"/>
                    <a:pt x="1441244" y="1120720"/>
                    <a:pt x="1441244" y="726745"/>
                  </a:cubicBezTo>
                  <a:cubicBezTo>
                    <a:pt x="1441244" y="332770"/>
                    <a:pt x="1120726" y="12246"/>
                    <a:pt x="726745" y="12246"/>
                  </a:cubicBezTo>
                  <a:close/>
                </a:path>
              </a:pathLst>
            </a:custGeom>
            <a:grpFill/>
            <a:ln w="6122" cap="flat">
              <a:noFill/>
              <a:prstDash val="solid"/>
              <a:miter/>
            </a:ln>
          </p:spPr>
          <p:txBody>
            <a:bodyPr rtlCol="0" anchor="ctr"/>
            <a:lstStyle/>
            <a:p>
              <a:endParaRPr lang="en-GB"/>
            </a:p>
          </p:txBody>
        </p:sp>
        <p:sp>
          <p:nvSpPr>
            <p:cNvPr id="298" name="Freeform: Shape 297">
              <a:extLst>
                <a:ext uri="{FF2B5EF4-FFF2-40B4-BE49-F238E27FC236}">
                  <a16:creationId xmlns:a16="http://schemas.microsoft.com/office/drawing/2014/main" id="{BDE06C3D-3D24-4169-A818-7B3978399C9D}"/>
                </a:ext>
              </a:extLst>
            </p:cNvPr>
            <p:cNvSpPr/>
            <p:nvPr/>
          </p:nvSpPr>
          <p:spPr>
            <a:xfrm>
              <a:off x="1618056" y="2634237"/>
              <a:ext cx="1300887" cy="1300893"/>
            </a:xfrm>
            <a:custGeom>
              <a:avLst/>
              <a:gdLst>
                <a:gd name="connsiteX0" fmla="*/ 650447 w 1300887"/>
                <a:gd name="connsiteY0" fmla="*/ 1300894 h 1300893"/>
                <a:gd name="connsiteX1" fmla="*/ 0 w 1300887"/>
                <a:gd name="connsiteY1" fmla="*/ 650447 h 1300893"/>
                <a:gd name="connsiteX2" fmla="*/ 650447 w 1300887"/>
                <a:gd name="connsiteY2" fmla="*/ 0 h 1300893"/>
                <a:gd name="connsiteX3" fmla="*/ 1300888 w 1300887"/>
                <a:gd name="connsiteY3" fmla="*/ 650447 h 1300893"/>
                <a:gd name="connsiteX4" fmla="*/ 650447 w 1300887"/>
                <a:gd name="connsiteY4" fmla="*/ 1300894 h 1300893"/>
                <a:gd name="connsiteX5" fmla="*/ 650447 w 1300887"/>
                <a:gd name="connsiteY5" fmla="*/ 12246 h 1300893"/>
                <a:gd name="connsiteX6" fmla="*/ 12246 w 1300887"/>
                <a:gd name="connsiteY6" fmla="*/ 650447 h 1300893"/>
                <a:gd name="connsiteX7" fmla="*/ 650447 w 1300887"/>
                <a:gd name="connsiteY7" fmla="*/ 1288648 h 1300893"/>
                <a:gd name="connsiteX8" fmla="*/ 1288642 w 1300887"/>
                <a:gd name="connsiteY8" fmla="*/ 650447 h 1300893"/>
                <a:gd name="connsiteX9" fmla="*/ 650447 w 1300887"/>
                <a:gd name="connsiteY9" fmla="*/ 12246 h 130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0887" h="1300893">
                  <a:moveTo>
                    <a:pt x="650447" y="1300894"/>
                  </a:moveTo>
                  <a:cubicBezTo>
                    <a:pt x="291789" y="1300894"/>
                    <a:pt x="0" y="1009105"/>
                    <a:pt x="0" y="650447"/>
                  </a:cubicBezTo>
                  <a:cubicBezTo>
                    <a:pt x="0" y="291789"/>
                    <a:pt x="291789" y="0"/>
                    <a:pt x="650447" y="0"/>
                  </a:cubicBezTo>
                  <a:cubicBezTo>
                    <a:pt x="1009099" y="0"/>
                    <a:pt x="1300888" y="291789"/>
                    <a:pt x="1300888" y="650447"/>
                  </a:cubicBezTo>
                  <a:cubicBezTo>
                    <a:pt x="1300888" y="1009105"/>
                    <a:pt x="1009099" y="1300894"/>
                    <a:pt x="650447" y="1300894"/>
                  </a:cubicBezTo>
                  <a:close/>
                  <a:moveTo>
                    <a:pt x="650447" y="12246"/>
                  </a:moveTo>
                  <a:cubicBezTo>
                    <a:pt x="298543" y="12246"/>
                    <a:pt x="12246" y="298543"/>
                    <a:pt x="12246" y="650447"/>
                  </a:cubicBezTo>
                  <a:cubicBezTo>
                    <a:pt x="12246" y="1002351"/>
                    <a:pt x="298543" y="1288648"/>
                    <a:pt x="650447" y="1288648"/>
                  </a:cubicBezTo>
                  <a:cubicBezTo>
                    <a:pt x="1002351" y="1288648"/>
                    <a:pt x="1288642" y="1002351"/>
                    <a:pt x="1288642" y="650447"/>
                  </a:cubicBezTo>
                  <a:cubicBezTo>
                    <a:pt x="1288642" y="298543"/>
                    <a:pt x="1002351" y="12246"/>
                    <a:pt x="650447" y="12246"/>
                  </a:cubicBezTo>
                  <a:close/>
                </a:path>
              </a:pathLst>
            </a:custGeom>
            <a:grpFill/>
            <a:ln w="6122" cap="flat">
              <a:noFill/>
              <a:prstDash val="solid"/>
              <a:miter/>
            </a:ln>
          </p:spPr>
          <p:txBody>
            <a:bodyPr rtlCol="0" anchor="ctr"/>
            <a:lstStyle/>
            <a:p>
              <a:endParaRPr lang="en-GB"/>
            </a:p>
          </p:txBody>
        </p:sp>
        <p:sp>
          <p:nvSpPr>
            <p:cNvPr id="299" name="Freeform: Shape 298">
              <a:extLst>
                <a:ext uri="{FF2B5EF4-FFF2-40B4-BE49-F238E27FC236}">
                  <a16:creationId xmlns:a16="http://schemas.microsoft.com/office/drawing/2014/main" id="{87AE4B5A-59DC-482B-8E6C-2DF661E2F717}"/>
                </a:ext>
              </a:extLst>
            </p:cNvPr>
            <p:cNvSpPr/>
            <p:nvPr/>
          </p:nvSpPr>
          <p:spPr>
            <a:xfrm>
              <a:off x="1694360" y="2710541"/>
              <a:ext cx="1148291" cy="1148285"/>
            </a:xfrm>
            <a:custGeom>
              <a:avLst/>
              <a:gdLst>
                <a:gd name="connsiteX0" fmla="*/ 574143 w 1148291"/>
                <a:gd name="connsiteY0" fmla="*/ 1148286 h 1148285"/>
                <a:gd name="connsiteX1" fmla="*/ 0 w 1148291"/>
                <a:gd name="connsiteY1" fmla="*/ 574143 h 1148285"/>
                <a:gd name="connsiteX2" fmla="*/ 574143 w 1148291"/>
                <a:gd name="connsiteY2" fmla="*/ 0 h 1148285"/>
                <a:gd name="connsiteX3" fmla="*/ 1148292 w 1148291"/>
                <a:gd name="connsiteY3" fmla="*/ 574143 h 1148285"/>
                <a:gd name="connsiteX4" fmla="*/ 574143 w 1148291"/>
                <a:gd name="connsiteY4" fmla="*/ 1148286 h 1148285"/>
                <a:gd name="connsiteX5" fmla="*/ 574143 w 1148291"/>
                <a:gd name="connsiteY5" fmla="*/ 12246 h 1148285"/>
                <a:gd name="connsiteX6" fmla="*/ 12246 w 1148291"/>
                <a:gd name="connsiteY6" fmla="*/ 574143 h 1148285"/>
                <a:gd name="connsiteX7" fmla="*/ 574143 w 1148291"/>
                <a:gd name="connsiteY7" fmla="*/ 1136040 h 1148285"/>
                <a:gd name="connsiteX8" fmla="*/ 1136046 w 1148291"/>
                <a:gd name="connsiteY8" fmla="*/ 574143 h 1148285"/>
                <a:gd name="connsiteX9" fmla="*/ 574143 w 1148291"/>
                <a:gd name="connsiteY9" fmla="*/ 12246 h 114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8291" h="1148285">
                  <a:moveTo>
                    <a:pt x="574143" y="1148286"/>
                  </a:moveTo>
                  <a:cubicBezTo>
                    <a:pt x="257556" y="1148286"/>
                    <a:pt x="0" y="890730"/>
                    <a:pt x="0" y="574143"/>
                  </a:cubicBezTo>
                  <a:cubicBezTo>
                    <a:pt x="0" y="257556"/>
                    <a:pt x="257556" y="0"/>
                    <a:pt x="574143" y="0"/>
                  </a:cubicBezTo>
                  <a:cubicBezTo>
                    <a:pt x="890730" y="0"/>
                    <a:pt x="1148292" y="257556"/>
                    <a:pt x="1148292" y="574143"/>
                  </a:cubicBezTo>
                  <a:cubicBezTo>
                    <a:pt x="1148292" y="890730"/>
                    <a:pt x="890730" y="1148286"/>
                    <a:pt x="574143" y="1148286"/>
                  </a:cubicBezTo>
                  <a:close/>
                  <a:moveTo>
                    <a:pt x="574143" y="12246"/>
                  </a:moveTo>
                  <a:cubicBezTo>
                    <a:pt x="264309" y="12246"/>
                    <a:pt x="12246" y="264309"/>
                    <a:pt x="12246" y="574143"/>
                  </a:cubicBezTo>
                  <a:cubicBezTo>
                    <a:pt x="12246" y="883976"/>
                    <a:pt x="264309" y="1136040"/>
                    <a:pt x="574143" y="1136040"/>
                  </a:cubicBezTo>
                  <a:cubicBezTo>
                    <a:pt x="883976" y="1136040"/>
                    <a:pt x="1136046" y="883976"/>
                    <a:pt x="1136046" y="574143"/>
                  </a:cubicBezTo>
                  <a:cubicBezTo>
                    <a:pt x="1136046" y="264309"/>
                    <a:pt x="883976" y="12246"/>
                    <a:pt x="574143" y="12246"/>
                  </a:cubicBezTo>
                  <a:close/>
                </a:path>
              </a:pathLst>
            </a:custGeom>
            <a:grpFill/>
            <a:ln w="6122" cap="flat">
              <a:noFill/>
              <a:prstDash val="solid"/>
              <a:miter/>
            </a:ln>
          </p:spPr>
          <p:txBody>
            <a:bodyPr rtlCol="0" anchor="ctr"/>
            <a:lstStyle/>
            <a:p>
              <a:endParaRPr lang="en-GB"/>
            </a:p>
          </p:txBody>
        </p:sp>
        <p:sp>
          <p:nvSpPr>
            <p:cNvPr id="300" name="Freeform: Shape 299">
              <a:extLst>
                <a:ext uri="{FF2B5EF4-FFF2-40B4-BE49-F238E27FC236}">
                  <a16:creationId xmlns:a16="http://schemas.microsoft.com/office/drawing/2014/main" id="{B50FBBAB-14D1-40C9-9F78-A27CF272481F}"/>
                </a:ext>
              </a:extLst>
            </p:cNvPr>
            <p:cNvSpPr/>
            <p:nvPr/>
          </p:nvSpPr>
          <p:spPr>
            <a:xfrm>
              <a:off x="1770658" y="2786839"/>
              <a:ext cx="995689" cy="995689"/>
            </a:xfrm>
            <a:custGeom>
              <a:avLst/>
              <a:gdLst>
                <a:gd name="connsiteX0" fmla="*/ 497845 w 995689"/>
                <a:gd name="connsiteY0" fmla="*/ 995690 h 995689"/>
                <a:gd name="connsiteX1" fmla="*/ 0 w 995689"/>
                <a:gd name="connsiteY1" fmla="*/ 497845 h 995689"/>
                <a:gd name="connsiteX2" fmla="*/ 497845 w 995689"/>
                <a:gd name="connsiteY2" fmla="*/ 0 h 995689"/>
                <a:gd name="connsiteX3" fmla="*/ 995689 w 995689"/>
                <a:gd name="connsiteY3" fmla="*/ 497845 h 995689"/>
                <a:gd name="connsiteX4" fmla="*/ 497845 w 995689"/>
                <a:gd name="connsiteY4" fmla="*/ 995690 h 995689"/>
                <a:gd name="connsiteX5" fmla="*/ 497845 w 995689"/>
                <a:gd name="connsiteY5" fmla="*/ 12246 h 995689"/>
                <a:gd name="connsiteX6" fmla="*/ 12246 w 995689"/>
                <a:gd name="connsiteY6" fmla="*/ 497845 h 995689"/>
                <a:gd name="connsiteX7" fmla="*/ 497845 w 995689"/>
                <a:gd name="connsiteY7" fmla="*/ 983444 h 995689"/>
                <a:gd name="connsiteX8" fmla="*/ 983444 w 995689"/>
                <a:gd name="connsiteY8" fmla="*/ 497845 h 995689"/>
                <a:gd name="connsiteX9" fmla="*/ 497845 w 995689"/>
                <a:gd name="connsiteY9" fmla="*/ 12246 h 99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5689" h="995689">
                  <a:moveTo>
                    <a:pt x="497845" y="995690"/>
                  </a:moveTo>
                  <a:cubicBezTo>
                    <a:pt x="223335" y="995690"/>
                    <a:pt x="0" y="772355"/>
                    <a:pt x="0" y="497845"/>
                  </a:cubicBezTo>
                  <a:cubicBezTo>
                    <a:pt x="0" y="223335"/>
                    <a:pt x="223335" y="0"/>
                    <a:pt x="497845" y="0"/>
                  </a:cubicBezTo>
                  <a:cubicBezTo>
                    <a:pt x="772355" y="0"/>
                    <a:pt x="995689" y="223335"/>
                    <a:pt x="995689" y="497845"/>
                  </a:cubicBezTo>
                  <a:cubicBezTo>
                    <a:pt x="995689" y="772355"/>
                    <a:pt x="772355" y="995690"/>
                    <a:pt x="497845" y="995690"/>
                  </a:cubicBezTo>
                  <a:close/>
                  <a:moveTo>
                    <a:pt x="497845" y="12246"/>
                  </a:moveTo>
                  <a:cubicBezTo>
                    <a:pt x="230088" y="12246"/>
                    <a:pt x="12246" y="230082"/>
                    <a:pt x="12246" y="497845"/>
                  </a:cubicBezTo>
                  <a:cubicBezTo>
                    <a:pt x="12246" y="765607"/>
                    <a:pt x="230088" y="983444"/>
                    <a:pt x="497845" y="983444"/>
                  </a:cubicBezTo>
                  <a:cubicBezTo>
                    <a:pt x="765601" y="983444"/>
                    <a:pt x="983444" y="765601"/>
                    <a:pt x="983444" y="497845"/>
                  </a:cubicBezTo>
                  <a:cubicBezTo>
                    <a:pt x="983444" y="230088"/>
                    <a:pt x="765601" y="12246"/>
                    <a:pt x="497845" y="12246"/>
                  </a:cubicBezTo>
                  <a:close/>
                </a:path>
              </a:pathLst>
            </a:custGeom>
            <a:grpFill/>
            <a:ln w="6122" cap="flat">
              <a:noFill/>
              <a:prstDash val="solid"/>
              <a:miter/>
            </a:ln>
          </p:spPr>
          <p:txBody>
            <a:bodyPr rtlCol="0" anchor="ctr"/>
            <a:lstStyle/>
            <a:p>
              <a:endParaRPr lang="en-GB"/>
            </a:p>
          </p:txBody>
        </p:sp>
        <p:sp>
          <p:nvSpPr>
            <p:cNvPr id="301" name="Freeform: Shape 300">
              <a:extLst>
                <a:ext uri="{FF2B5EF4-FFF2-40B4-BE49-F238E27FC236}">
                  <a16:creationId xmlns:a16="http://schemas.microsoft.com/office/drawing/2014/main" id="{C9570EB7-72F5-467B-B44E-826DB1763368}"/>
                </a:ext>
              </a:extLst>
            </p:cNvPr>
            <p:cNvSpPr/>
            <p:nvPr/>
          </p:nvSpPr>
          <p:spPr>
            <a:xfrm>
              <a:off x="1846962" y="2863144"/>
              <a:ext cx="843081" cy="843081"/>
            </a:xfrm>
            <a:custGeom>
              <a:avLst/>
              <a:gdLst>
                <a:gd name="connsiteX0" fmla="*/ 421541 w 843081"/>
                <a:gd name="connsiteY0" fmla="*/ 843081 h 843081"/>
                <a:gd name="connsiteX1" fmla="*/ 0 w 843081"/>
                <a:gd name="connsiteY1" fmla="*/ 421541 h 843081"/>
                <a:gd name="connsiteX2" fmla="*/ 421541 w 843081"/>
                <a:gd name="connsiteY2" fmla="*/ 0 h 843081"/>
                <a:gd name="connsiteX3" fmla="*/ 843081 w 843081"/>
                <a:gd name="connsiteY3" fmla="*/ 421541 h 843081"/>
                <a:gd name="connsiteX4" fmla="*/ 421541 w 843081"/>
                <a:gd name="connsiteY4" fmla="*/ 843081 h 843081"/>
                <a:gd name="connsiteX5" fmla="*/ 421541 w 843081"/>
                <a:gd name="connsiteY5" fmla="*/ 12246 h 843081"/>
                <a:gd name="connsiteX6" fmla="*/ 12246 w 843081"/>
                <a:gd name="connsiteY6" fmla="*/ 421541 h 843081"/>
                <a:gd name="connsiteX7" fmla="*/ 421541 w 843081"/>
                <a:gd name="connsiteY7" fmla="*/ 830835 h 843081"/>
                <a:gd name="connsiteX8" fmla="*/ 830835 w 843081"/>
                <a:gd name="connsiteY8" fmla="*/ 421541 h 843081"/>
                <a:gd name="connsiteX9" fmla="*/ 421541 w 843081"/>
                <a:gd name="connsiteY9" fmla="*/ 12246 h 84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3081" h="843081">
                  <a:moveTo>
                    <a:pt x="421541" y="843081"/>
                  </a:moveTo>
                  <a:cubicBezTo>
                    <a:pt x="189101" y="843081"/>
                    <a:pt x="0" y="653980"/>
                    <a:pt x="0" y="421541"/>
                  </a:cubicBezTo>
                  <a:cubicBezTo>
                    <a:pt x="0" y="189101"/>
                    <a:pt x="189101" y="0"/>
                    <a:pt x="421541" y="0"/>
                  </a:cubicBezTo>
                  <a:cubicBezTo>
                    <a:pt x="653980" y="0"/>
                    <a:pt x="843081" y="189101"/>
                    <a:pt x="843081" y="421541"/>
                  </a:cubicBezTo>
                  <a:cubicBezTo>
                    <a:pt x="843081" y="653980"/>
                    <a:pt x="653980" y="843081"/>
                    <a:pt x="421541" y="843081"/>
                  </a:cubicBezTo>
                  <a:close/>
                  <a:moveTo>
                    <a:pt x="421541" y="12246"/>
                  </a:moveTo>
                  <a:cubicBezTo>
                    <a:pt x="195855" y="12246"/>
                    <a:pt x="12246" y="195855"/>
                    <a:pt x="12246" y="421541"/>
                  </a:cubicBezTo>
                  <a:cubicBezTo>
                    <a:pt x="12246" y="647226"/>
                    <a:pt x="195855" y="830835"/>
                    <a:pt x="421541" y="830835"/>
                  </a:cubicBezTo>
                  <a:cubicBezTo>
                    <a:pt x="647220" y="830835"/>
                    <a:pt x="830835" y="647226"/>
                    <a:pt x="830835" y="421541"/>
                  </a:cubicBezTo>
                  <a:cubicBezTo>
                    <a:pt x="830835" y="195855"/>
                    <a:pt x="647220" y="12246"/>
                    <a:pt x="421541" y="12246"/>
                  </a:cubicBezTo>
                  <a:close/>
                </a:path>
              </a:pathLst>
            </a:custGeom>
            <a:grpFill/>
            <a:ln w="6122" cap="flat">
              <a:noFill/>
              <a:prstDash val="solid"/>
              <a:miter/>
            </a:ln>
          </p:spPr>
          <p:txBody>
            <a:bodyPr rtlCol="0" anchor="ctr"/>
            <a:lstStyle/>
            <a:p>
              <a:endParaRPr lang="en-GB"/>
            </a:p>
          </p:txBody>
        </p:sp>
        <p:sp>
          <p:nvSpPr>
            <p:cNvPr id="302" name="Freeform: Shape 301">
              <a:extLst>
                <a:ext uri="{FF2B5EF4-FFF2-40B4-BE49-F238E27FC236}">
                  <a16:creationId xmlns:a16="http://schemas.microsoft.com/office/drawing/2014/main" id="{A3FB7EB3-2643-4431-BE96-8C3C79B113D0}"/>
                </a:ext>
              </a:extLst>
            </p:cNvPr>
            <p:cNvSpPr/>
            <p:nvPr/>
          </p:nvSpPr>
          <p:spPr>
            <a:xfrm>
              <a:off x="1923260" y="2939442"/>
              <a:ext cx="690485" cy="690484"/>
            </a:xfrm>
            <a:custGeom>
              <a:avLst/>
              <a:gdLst>
                <a:gd name="connsiteX0" fmla="*/ 345243 w 690485"/>
                <a:gd name="connsiteY0" fmla="*/ 690485 h 690484"/>
                <a:gd name="connsiteX1" fmla="*/ 0 w 690485"/>
                <a:gd name="connsiteY1" fmla="*/ 345242 h 690484"/>
                <a:gd name="connsiteX2" fmla="*/ 345243 w 690485"/>
                <a:gd name="connsiteY2" fmla="*/ 0 h 690484"/>
                <a:gd name="connsiteX3" fmla="*/ 690485 w 690485"/>
                <a:gd name="connsiteY3" fmla="*/ 345242 h 690484"/>
                <a:gd name="connsiteX4" fmla="*/ 345243 w 690485"/>
                <a:gd name="connsiteY4" fmla="*/ 690485 h 690484"/>
                <a:gd name="connsiteX5" fmla="*/ 345243 w 690485"/>
                <a:gd name="connsiteY5" fmla="*/ 12246 h 690484"/>
                <a:gd name="connsiteX6" fmla="*/ 12246 w 690485"/>
                <a:gd name="connsiteY6" fmla="*/ 345242 h 690484"/>
                <a:gd name="connsiteX7" fmla="*/ 345243 w 690485"/>
                <a:gd name="connsiteY7" fmla="*/ 678239 h 690484"/>
                <a:gd name="connsiteX8" fmla="*/ 678239 w 690485"/>
                <a:gd name="connsiteY8" fmla="*/ 345242 h 690484"/>
                <a:gd name="connsiteX9" fmla="*/ 345243 w 690485"/>
                <a:gd name="connsiteY9" fmla="*/ 12246 h 69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0485" h="690484">
                  <a:moveTo>
                    <a:pt x="345243" y="690485"/>
                  </a:moveTo>
                  <a:cubicBezTo>
                    <a:pt x="154874" y="690485"/>
                    <a:pt x="0" y="535611"/>
                    <a:pt x="0" y="345242"/>
                  </a:cubicBezTo>
                  <a:cubicBezTo>
                    <a:pt x="0" y="154874"/>
                    <a:pt x="154874" y="0"/>
                    <a:pt x="345243" y="0"/>
                  </a:cubicBezTo>
                  <a:cubicBezTo>
                    <a:pt x="535611" y="0"/>
                    <a:pt x="690485" y="154874"/>
                    <a:pt x="690485" y="345242"/>
                  </a:cubicBezTo>
                  <a:cubicBezTo>
                    <a:pt x="690485" y="535611"/>
                    <a:pt x="535611" y="690485"/>
                    <a:pt x="345243" y="690485"/>
                  </a:cubicBezTo>
                  <a:close/>
                  <a:moveTo>
                    <a:pt x="345243" y="12246"/>
                  </a:moveTo>
                  <a:cubicBezTo>
                    <a:pt x="161628" y="12246"/>
                    <a:pt x="12246" y="161627"/>
                    <a:pt x="12246" y="345242"/>
                  </a:cubicBezTo>
                  <a:cubicBezTo>
                    <a:pt x="12246" y="528858"/>
                    <a:pt x="161628" y="678239"/>
                    <a:pt x="345243" y="678239"/>
                  </a:cubicBezTo>
                  <a:cubicBezTo>
                    <a:pt x="528858" y="678239"/>
                    <a:pt x="678239" y="528858"/>
                    <a:pt x="678239" y="345242"/>
                  </a:cubicBezTo>
                  <a:cubicBezTo>
                    <a:pt x="678239" y="161627"/>
                    <a:pt x="528858" y="12246"/>
                    <a:pt x="345243" y="12246"/>
                  </a:cubicBezTo>
                  <a:close/>
                </a:path>
              </a:pathLst>
            </a:custGeom>
            <a:grpFill/>
            <a:ln w="6122" cap="flat">
              <a:noFill/>
              <a:prstDash val="solid"/>
              <a:miter/>
            </a:ln>
          </p:spPr>
          <p:txBody>
            <a:bodyPr rtlCol="0" anchor="ctr"/>
            <a:lstStyle/>
            <a:p>
              <a:endParaRPr lang="en-GB"/>
            </a:p>
          </p:txBody>
        </p:sp>
        <p:sp>
          <p:nvSpPr>
            <p:cNvPr id="303" name="Freeform: Shape 302">
              <a:extLst>
                <a:ext uri="{FF2B5EF4-FFF2-40B4-BE49-F238E27FC236}">
                  <a16:creationId xmlns:a16="http://schemas.microsoft.com/office/drawing/2014/main" id="{8DA36B92-5A83-419D-8D50-067C05F872FB}"/>
                </a:ext>
              </a:extLst>
            </p:cNvPr>
            <p:cNvSpPr/>
            <p:nvPr/>
          </p:nvSpPr>
          <p:spPr>
            <a:xfrm>
              <a:off x="1999564" y="3015746"/>
              <a:ext cx="537876" cy="537876"/>
            </a:xfrm>
            <a:custGeom>
              <a:avLst/>
              <a:gdLst>
                <a:gd name="connsiteX0" fmla="*/ 268938 w 537876"/>
                <a:gd name="connsiteY0" fmla="*/ 537877 h 537876"/>
                <a:gd name="connsiteX1" fmla="*/ 0 w 537876"/>
                <a:gd name="connsiteY1" fmla="*/ 268938 h 537876"/>
                <a:gd name="connsiteX2" fmla="*/ 268938 w 537876"/>
                <a:gd name="connsiteY2" fmla="*/ 0 h 537876"/>
                <a:gd name="connsiteX3" fmla="*/ 537877 w 537876"/>
                <a:gd name="connsiteY3" fmla="*/ 268938 h 537876"/>
                <a:gd name="connsiteX4" fmla="*/ 268938 w 537876"/>
                <a:gd name="connsiteY4" fmla="*/ 537877 h 537876"/>
                <a:gd name="connsiteX5" fmla="*/ 268938 w 537876"/>
                <a:gd name="connsiteY5" fmla="*/ 12246 h 537876"/>
                <a:gd name="connsiteX6" fmla="*/ 12246 w 537876"/>
                <a:gd name="connsiteY6" fmla="*/ 268938 h 537876"/>
                <a:gd name="connsiteX7" fmla="*/ 268938 w 537876"/>
                <a:gd name="connsiteY7" fmla="*/ 525631 h 537876"/>
                <a:gd name="connsiteX8" fmla="*/ 525631 w 537876"/>
                <a:gd name="connsiteY8" fmla="*/ 268938 h 537876"/>
                <a:gd name="connsiteX9" fmla="*/ 268938 w 537876"/>
                <a:gd name="connsiteY9" fmla="*/ 12246 h 5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876" h="537876">
                  <a:moveTo>
                    <a:pt x="268938" y="537877"/>
                  </a:moveTo>
                  <a:cubicBezTo>
                    <a:pt x="120647" y="537877"/>
                    <a:pt x="0" y="417230"/>
                    <a:pt x="0" y="268938"/>
                  </a:cubicBezTo>
                  <a:cubicBezTo>
                    <a:pt x="0" y="120647"/>
                    <a:pt x="120647" y="0"/>
                    <a:pt x="268938" y="0"/>
                  </a:cubicBezTo>
                  <a:cubicBezTo>
                    <a:pt x="417230" y="0"/>
                    <a:pt x="537877" y="120647"/>
                    <a:pt x="537877" y="268938"/>
                  </a:cubicBezTo>
                  <a:cubicBezTo>
                    <a:pt x="537877" y="417230"/>
                    <a:pt x="417230" y="537877"/>
                    <a:pt x="268938" y="537877"/>
                  </a:cubicBezTo>
                  <a:close/>
                  <a:moveTo>
                    <a:pt x="268938" y="12246"/>
                  </a:moveTo>
                  <a:cubicBezTo>
                    <a:pt x="127400" y="12246"/>
                    <a:pt x="12246" y="127400"/>
                    <a:pt x="12246" y="268938"/>
                  </a:cubicBezTo>
                  <a:cubicBezTo>
                    <a:pt x="12246" y="410476"/>
                    <a:pt x="127400" y="525631"/>
                    <a:pt x="268938" y="525631"/>
                  </a:cubicBezTo>
                  <a:cubicBezTo>
                    <a:pt x="410476" y="525631"/>
                    <a:pt x="525631" y="410476"/>
                    <a:pt x="525631" y="268938"/>
                  </a:cubicBezTo>
                  <a:cubicBezTo>
                    <a:pt x="525631" y="127400"/>
                    <a:pt x="410476" y="12246"/>
                    <a:pt x="268938" y="12246"/>
                  </a:cubicBezTo>
                  <a:close/>
                </a:path>
              </a:pathLst>
            </a:custGeom>
            <a:grpFill/>
            <a:ln w="6122" cap="flat">
              <a:noFill/>
              <a:prstDash val="solid"/>
              <a:miter/>
            </a:ln>
          </p:spPr>
          <p:txBody>
            <a:bodyPr rtlCol="0" anchor="ctr"/>
            <a:lstStyle/>
            <a:p>
              <a:endParaRPr lang="en-GB"/>
            </a:p>
          </p:txBody>
        </p:sp>
        <p:sp>
          <p:nvSpPr>
            <p:cNvPr id="304" name="Freeform: Shape 303">
              <a:extLst>
                <a:ext uri="{FF2B5EF4-FFF2-40B4-BE49-F238E27FC236}">
                  <a16:creationId xmlns:a16="http://schemas.microsoft.com/office/drawing/2014/main" id="{13C1F1D7-6CBF-412B-BC83-BB81B0BBF47B}"/>
                </a:ext>
              </a:extLst>
            </p:cNvPr>
            <p:cNvSpPr/>
            <p:nvPr/>
          </p:nvSpPr>
          <p:spPr>
            <a:xfrm>
              <a:off x="2075869" y="3092050"/>
              <a:ext cx="385274" cy="385268"/>
            </a:xfrm>
            <a:custGeom>
              <a:avLst/>
              <a:gdLst>
                <a:gd name="connsiteX0" fmla="*/ 192634 w 385274"/>
                <a:gd name="connsiteY0" fmla="*/ 385268 h 385268"/>
                <a:gd name="connsiteX1" fmla="*/ 0 w 385274"/>
                <a:gd name="connsiteY1" fmla="*/ 192634 h 385268"/>
                <a:gd name="connsiteX2" fmla="*/ 192634 w 385274"/>
                <a:gd name="connsiteY2" fmla="*/ 0 h 385268"/>
                <a:gd name="connsiteX3" fmla="*/ 385274 w 385274"/>
                <a:gd name="connsiteY3" fmla="*/ 192634 h 385268"/>
                <a:gd name="connsiteX4" fmla="*/ 192634 w 385274"/>
                <a:gd name="connsiteY4" fmla="*/ 385268 h 385268"/>
                <a:gd name="connsiteX5" fmla="*/ 192634 w 385274"/>
                <a:gd name="connsiteY5" fmla="*/ 12246 h 385268"/>
                <a:gd name="connsiteX6" fmla="*/ 12246 w 385274"/>
                <a:gd name="connsiteY6" fmla="*/ 192634 h 385268"/>
                <a:gd name="connsiteX7" fmla="*/ 192634 w 385274"/>
                <a:gd name="connsiteY7" fmla="*/ 373022 h 385268"/>
                <a:gd name="connsiteX8" fmla="*/ 373028 w 385274"/>
                <a:gd name="connsiteY8" fmla="*/ 192634 h 385268"/>
                <a:gd name="connsiteX9" fmla="*/ 192634 w 385274"/>
                <a:gd name="connsiteY9" fmla="*/ 12246 h 38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274" h="385268">
                  <a:moveTo>
                    <a:pt x="192634" y="385268"/>
                  </a:moveTo>
                  <a:cubicBezTo>
                    <a:pt x="86413" y="385268"/>
                    <a:pt x="0" y="298849"/>
                    <a:pt x="0" y="192634"/>
                  </a:cubicBezTo>
                  <a:cubicBezTo>
                    <a:pt x="0" y="86419"/>
                    <a:pt x="86419" y="0"/>
                    <a:pt x="192634" y="0"/>
                  </a:cubicBezTo>
                  <a:cubicBezTo>
                    <a:pt x="298861" y="0"/>
                    <a:pt x="385274" y="86419"/>
                    <a:pt x="385274" y="192634"/>
                  </a:cubicBezTo>
                  <a:cubicBezTo>
                    <a:pt x="385274" y="298849"/>
                    <a:pt x="298861" y="385268"/>
                    <a:pt x="192634" y="385268"/>
                  </a:cubicBezTo>
                  <a:close/>
                  <a:moveTo>
                    <a:pt x="192634" y="12246"/>
                  </a:moveTo>
                  <a:cubicBezTo>
                    <a:pt x="93167" y="12246"/>
                    <a:pt x="12246" y="93167"/>
                    <a:pt x="12246" y="192634"/>
                  </a:cubicBezTo>
                  <a:cubicBezTo>
                    <a:pt x="12246" y="292101"/>
                    <a:pt x="93167" y="373022"/>
                    <a:pt x="192634" y="373022"/>
                  </a:cubicBezTo>
                  <a:cubicBezTo>
                    <a:pt x="292101" y="373022"/>
                    <a:pt x="373028" y="292101"/>
                    <a:pt x="373028" y="192634"/>
                  </a:cubicBezTo>
                  <a:cubicBezTo>
                    <a:pt x="373028" y="93167"/>
                    <a:pt x="292101" y="12246"/>
                    <a:pt x="192634" y="12246"/>
                  </a:cubicBezTo>
                  <a:close/>
                </a:path>
              </a:pathLst>
            </a:custGeom>
            <a:grpFill/>
            <a:ln w="6122" cap="flat">
              <a:noFill/>
              <a:prstDash val="solid"/>
              <a:miter/>
            </a:ln>
          </p:spPr>
          <p:txBody>
            <a:bodyPr rtlCol="0" anchor="ctr"/>
            <a:lstStyle/>
            <a:p>
              <a:endParaRPr lang="en-GB"/>
            </a:p>
          </p:txBody>
        </p:sp>
        <p:sp>
          <p:nvSpPr>
            <p:cNvPr id="305" name="Freeform: Shape 304">
              <a:extLst>
                <a:ext uri="{FF2B5EF4-FFF2-40B4-BE49-F238E27FC236}">
                  <a16:creationId xmlns:a16="http://schemas.microsoft.com/office/drawing/2014/main" id="{A8E7D0C2-0997-4B31-B1BB-2F7AE603494A}"/>
                </a:ext>
              </a:extLst>
            </p:cNvPr>
            <p:cNvSpPr/>
            <p:nvPr/>
          </p:nvSpPr>
          <p:spPr>
            <a:xfrm>
              <a:off x="2152167" y="3168348"/>
              <a:ext cx="232672" cy="232672"/>
            </a:xfrm>
            <a:custGeom>
              <a:avLst/>
              <a:gdLst>
                <a:gd name="connsiteX0" fmla="*/ 116336 w 232672"/>
                <a:gd name="connsiteY0" fmla="*/ 232672 h 232672"/>
                <a:gd name="connsiteX1" fmla="*/ 0 w 232672"/>
                <a:gd name="connsiteY1" fmla="*/ 116336 h 232672"/>
                <a:gd name="connsiteX2" fmla="*/ 116336 w 232672"/>
                <a:gd name="connsiteY2" fmla="*/ 0 h 232672"/>
                <a:gd name="connsiteX3" fmla="*/ 232672 w 232672"/>
                <a:gd name="connsiteY3" fmla="*/ 116336 h 232672"/>
                <a:gd name="connsiteX4" fmla="*/ 116336 w 232672"/>
                <a:gd name="connsiteY4" fmla="*/ 232672 h 232672"/>
                <a:gd name="connsiteX5" fmla="*/ 116336 w 232672"/>
                <a:gd name="connsiteY5" fmla="*/ 12246 h 232672"/>
                <a:gd name="connsiteX6" fmla="*/ 12246 w 232672"/>
                <a:gd name="connsiteY6" fmla="*/ 116336 h 232672"/>
                <a:gd name="connsiteX7" fmla="*/ 116336 w 232672"/>
                <a:gd name="connsiteY7" fmla="*/ 220426 h 232672"/>
                <a:gd name="connsiteX8" fmla="*/ 220426 w 232672"/>
                <a:gd name="connsiteY8" fmla="*/ 116336 h 232672"/>
                <a:gd name="connsiteX9" fmla="*/ 116336 w 232672"/>
                <a:gd name="connsiteY9" fmla="*/ 12246 h 23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72" h="232672">
                  <a:moveTo>
                    <a:pt x="116336" y="232672"/>
                  </a:moveTo>
                  <a:cubicBezTo>
                    <a:pt x="52186" y="232672"/>
                    <a:pt x="0" y="180486"/>
                    <a:pt x="0" y="116336"/>
                  </a:cubicBezTo>
                  <a:cubicBezTo>
                    <a:pt x="0" y="52186"/>
                    <a:pt x="52186" y="0"/>
                    <a:pt x="116336" y="0"/>
                  </a:cubicBezTo>
                  <a:cubicBezTo>
                    <a:pt x="180486" y="0"/>
                    <a:pt x="232672" y="52186"/>
                    <a:pt x="232672" y="116336"/>
                  </a:cubicBezTo>
                  <a:cubicBezTo>
                    <a:pt x="232672" y="180486"/>
                    <a:pt x="180486" y="232672"/>
                    <a:pt x="116336" y="232672"/>
                  </a:cubicBezTo>
                  <a:close/>
                  <a:moveTo>
                    <a:pt x="116336" y="12246"/>
                  </a:moveTo>
                  <a:cubicBezTo>
                    <a:pt x="58940" y="12246"/>
                    <a:pt x="12246" y="58940"/>
                    <a:pt x="12246" y="116336"/>
                  </a:cubicBezTo>
                  <a:cubicBezTo>
                    <a:pt x="12246" y="173733"/>
                    <a:pt x="58940" y="220426"/>
                    <a:pt x="116336" y="220426"/>
                  </a:cubicBezTo>
                  <a:cubicBezTo>
                    <a:pt x="173733" y="220426"/>
                    <a:pt x="220426" y="173733"/>
                    <a:pt x="220426" y="116336"/>
                  </a:cubicBezTo>
                  <a:cubicBezTo>
                    <a:pt x="220426" y="58940"/>
                    <a:pt x="173733" y="12246"/>
                    <a:pt x="116336" y="12246"/>
                  </a:cubicBezTo>
                  <a:close/>
                </a:path>
              </a:pathLst>
            </a:custGeom>
            <a:grpFill/>
            <a:ln w="6122" cap="flat">
              <a:noFill/>
              <a:prstDash val="solid"/>
              <a:miter/>
            </a:ln>
          </p:spPr>
          <p:txBody>
            <a:bodyPr rtlCol="0" anchor="ctr"/>
            <a:lstStyle/>
            <a:p>
              <a:endParaRPr lang="en-GB"/>
            </a:p>
          </p:txBody>
        </p:sp>
      </p:grpSp>
      <p:sp>
        <p:nvSpPr>
          <p:cNvPr id="306" name="Graphic 214" descr="An assortment of differently patterned circles">
            <a:extLst>
              <a:ext uri="{FF2B5EF4-FFF2-40B4-BE49-F238E27FC236}">
                <a16:creationId xmlns:a16="http://schemas.microsoft.com/office/drawing/2014/main" id="{D7ADFDA4-0CF5-472A-905A-3000013BB093}"/>
              </a:ext>
            </a:extLst>
          </p:cNvPr>
          <p:cNvSpPr/>
          <p:nvPr/>
        </p:nvSpPr>
        <p:spPr>
          <a:xfrm>
            <a:off x="2773618" y="2998214"/>
            <a:ext cx="918442" cy="918442"/>
          </a:xfrm>
          <a:custGeom>
            <a:avLst/>
            <a:gdLst>
              <a:gd name="connsiteX0" fmla="*/ 462062 w 918442"/>
              <a:gd name="connsiteY0" fmla="*/ 918442 h 918442"/>
              <a:gd name="connsiteX1" fmla="*/ 456374 w 918442"/>
              <a:gd name="connsiteY1" fmla="*/ 918442 h 918442"/>
              <a:gd name="connsiteX2" fmla="*/ 0 w 918442"/>
              <a:gd name="connsiteY2" fmla="*/ 462062 h 918442"/>
              <a:gd name="connsiteX3" fmla="*/ 0 w 918442"/>
              <a:gd name="connsiteY3" fmla="*/ 456374 h 918442"/>
              <a:gd name="connsiteX4" fmla="*/ 456380 w 918442"/>
              <a:gd name="connsiteY4" fmla="*/ 0 h 918442"/>
              <a:gd name="connsiteX5" fmla="*/ 462069 w 918442"/>
              <a:gd name="connsiteY5" fmla="*/ 0 h 918442"/>
              <a:gd name="connsiteX6" fmla="*/ 918442 w 918442"/>
              <a:gd name="connsiteY6" fmla="*/ 456380 h 918442"/>
              <a:gd name="connsiteX7" fmla="*/ 918442 w 918442"/>
              <a:gd name="connsiteY7" fmla="*/ 462068 h 918442"/>
              <a:gd name="connsiteX8" fmla="*/ 462062 w 918442"/>
              <a:gd name="connsiteY8" fmla="*/ 918442 h 91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8442" h="918442">
                <a:moveTo>
                  <a:pt x="462062" y="918442"/>
                </a:moveTo>
                <a:lnTo>
                  <a:pt x="456374" y="918442"/>
                </a:lnTo>
                <a:cubicBezTo>
                  <a:pt x="204329" y="918442"/>
                  <a:pt x="0" y="714113"/>
                  <a:pt x="0" y="462062"/>
                </a:cubicBezTo>
                <a:lnTo>
                  <a:pt x="0" y="456374"/>
                </a:lnTo>
                <a:cubicBezTo>
                  <a:pt x="0" y="204329"/>
                  <a:pt x="204329" y="0"/>
                  <a:pt x="456380" y="0"/>
                </a:cubicBezTo>
                <a:lnTo>
                  <a:pt x="462069" y="0"/>
                </a:lnTo>
                <a:cubicBezTo>
                  <a:pt x="714114" y="0"/>
                  <a:pt x="918442" y="204329"/>
                  <a:pt x="918442" y="456380"/>
                </a:cubicBezTo>
                <a:lnTo>
                  <a:pt x="918442" y="462068"/>
                </a:lnTo>
                <a:cubicBezTo>
                  <a:pt x="918442" y="714113"/>
                  <a:pt x="714114" y="918442"/>
                  <a:pt x="462062" y="918442"/>
                </a:cubicBezTo>
                <a:close/>
              </a:path>
            </a:pathLst>
          </a:custGeom>
          <a:solidFill>
            <a:srgbClr val="D2D2D2"/>
          </a:solidFill>
          <a:ln w="6122" cap="flat">
            <a:noFill/>
            <a:prstDash val="solid"/>
            <a:miter/>
          </a:ln>
        </p:spPr>
        <p:txBody>
          <a:bodyPr rtlCol="0" anchor="ctr"/>
          <a:lstStyle/>
          <a:p>
            <a:endParaRPr lang="en-GB"/>
          </a:p>
        </p:txBody>
      </p:sp>
      <p:sp>
        <p:nvSpPr>
          <p:cNvPr id="97" name="Rectangle 96">
            <a:extLst>
              <a:ext uri="{FF2B5EF4-FFF2-40B4-BE49-F238E27FC236}">
                <a16:creationId xmlns:a16="http://schemas.microsoft.com/office/drawing/2014/main" id="{4D25A0BD-C405-4DD4-960B-C1BA72A30767}"/>
              </a:ext>
            </a:extLst>
          </p:cNvPr>
          <p:cNvSpPr/>
          <p:nvPr/>
        </p:nvSpPr>
        <p:spPr>
          <a:xfrm>
            <a:off x="4574398" y="-71022"/>
            <a:ext cx="139156" cy="6929022"/>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1" name="TextBox 190">
            <a:extLst>
              <a:ext uri="{FF2B5EF4-FFF2-40B4-BE49-F238E27FC236}">
                <a16:creationId xmlns:a16="http://schemas.microsoft.com/office/drawing/2014/main" id="{6FFC58B6-2A9B-4A73-B6D1-1D0CAC069B2A}"/>
              </a:ext>
            </a:extLst>
          </p:cNvPr>
          <p:cNvSpPr txBox="1"/>
          <p:nvPr/>
        </p:nvSpPr>
        <p:spPr>
          <a:xfrm>
            <a:off x="4730151" y="99527"/>
            <a:ext cx="7176981" cy="6740307"/>
          </a:xfrm>
          <a:prstGeom prst="rect">
            <a:avLst/>
          </a:prstGeom>
          <a:noFill/>
        </p:spPr>
        <p:txBody>
          <a:bodyPr wrap="square" rtlCol="0">
            <a:spAutoFit/>
          </a:bodyPr>
          <a:lstStyle/>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The youth of Scotland should have an understanding of their own rights and an incentive to take action to defend the rights of others as well as their own. </a:t>
            </a:r>
          </a:p>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Apart from being safe all young people must feel included. This should also include the political life of the country which although open to many young people is still rather vague. I believe that the lack of transparency regarding young people’s futures in recent years has been going against young people’s right to be informed. </a:t>
            </a:r>
          </a:p>
          <a:p>
            <a:pPr marL="285750" indent="-285750">
              <a:buFont typeface="Arial" panose="020B0604020202020204" pitchFamily="34" charset="0"/>
              <a:buChar char="•"/>
            </a:pPr>
            <a:r>
              <a:rPr lang="en-GB" sz="1600" b="0" i="0" dirty="0">
                <a:solidFill>
                  <a:schemeClr val="bg1"/>
                </a:solidFill>
                <a:effectLst/>
                <a:latin typeface="Arial" panose="020B0604020202020204" pitchFamily="34" charset="0"/>
                <a:cs typeface="Arial" panose="020B0604020202020204" pitchFamily="34" charset="0"/>
              </a:rPr>
              <a:t>Furthermore, equal treatment and safety are key factors in </a:t>
            </a:r>
            <a:r>
              <a:rPr lang="en-GB" sz="1600" dirty="0">
                <a:solidFill>
                  <a:schemeClr val="bg1"/>
                </a:solidFill>
                <a:latin typeface="Arial" panose="020B0604020202020204" pitchFamily="34" charset="0"/>
                <a:cs typeface="Arial" panose="020B0604020202020204" pitchFamily="34" charset="0"/>
              </a:rPr>
              <a:t>a young person’s well-being however those rights are often denied to people due to characteristics out of their control. According to a Plan International UK survey of more than 1000 girls and young women aged 14-21 feel like their opinions are overlooked and they are fed up with messages of false female empowerment. </a:t>
            </a:r>
            <a:r>
              <a:rPr lang="en-GB" sz="1600" b="0" i="0" dirty="0">
                <a:solidFill>
                  <a:schemeClr val="bg1"/>
                </a:solidFill>
                <a:effectLst/>
                <a:latin typeface="Arial" panose="020B0604020202020204" pitchFamily="34" charset="0"/>
                <a:cs typeface="Arial" panose="020B0604020202020204" pitchFamily="34" charset="0"/>
              </a:rPr>
              <a:t>A total of 60% of girls felt that males are treated better than females in the UK, and 57% said they had been in a situation where they believe they would have got better treatment if they were a boy. This is worrying as it shows that although on </a:t>
            </a:r>
            <a:r>
              <a:rPr lang="en-GB" sz="1600" dirty="0">
                <a:solidFill>
                  <a:schemeClr val="bg1"/>
                </a:solidFill>
                <a:latin typeface="Arial" panose="020B0604020202020204" pitchFamily="34" charset="0"/>
                <a:cs typeface="Arial" panose="020B0604020202020204" pitchFamily="34" charset="0"/>
              </a:rPr>
              <a:t>paper we are equal some of us are MORE equal. </a:t>
            </a:r>
          </a:p>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Safety is a right denied to many young people as well. Due to our lack of freedoms such as the second amendment and the legal status of pepper spray and knives young people have no real way to fend for themselves. If put in a situation where self-defence would be their only option young people are practically helpless. Tools like pepper spray – at least should be legalised to give a sense of security on the streets with some young people (like myself) lack. </a:t>
            </a:r>
          </a:p>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For everyone to feel safe, included and respected is </a:t>
            </a:r>
            <a:r>
              <a:rPr lang="en-GB" sz="1600" i="1" dirty="0">
                <a:solidFill>
                  <a:schemeClr val="bg1"/>
                </a:solidFill>
                <a:latin typeface="Arial" panose="020B0604020202020204" pitchFamily="34" charset="0"/>
                <a:cs typeface="Arial" panose="020B0604020202020204" pitchFamily="34" charset="0"/>
              </a:rPr>
              <a:t>a must </a:t>
            </a:r>
            <a:r>
              <a:rPr lang="en-GB" sz="1600" dirty="0">
                <a:solidFill>
                  <a:schemeClr val="bg1"/>
                </a:solidFill>
                <a:latin typeface="Arial" panose="020B0604020202020204" pitchFamily="34" charset="0"/>
                <a:cs typeface="Arial" panose="020B0604020202020204" pitchFamily="34" charset="0"/>
              </a:rPr>
              <a:t>in a civil society and we should strive to achieve that. </a:t>
            </a:r>
            <a:endParaRPr lang="en-GB"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2787035"/>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AB0E9-A649-4579-8381-D4623C7E372C}"/>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a:extLst>
              <a:ext uri="{FF2B5EF4-FFF2-40B4-BE49-F238E27FC236}">
                <a16:creationId xmlns:a16="http://schemas.microsoft.com/office/drawing/2014/main" id="{BEAFB285-0A69-40BA-9062-5719F8CF5D72}"/>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08A43368-3B81-4EDA-B9FB-C9894DDC5016}"/>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100" name="Picture 4" descr="A stack of books">
            <a:extLst>
              <a:ext uri="{FF2B5EF4-FFF2-40B4-BE49-F238E27FC236}">
                <a16:creationId xmlns:a16="http://schemas.microsoft.com/office/drawing/2014/main" id="{EAAF2C7F-9634-43A7-BB12-70C391D3CE33}"/>
              </a:ext>
            </a:extLst>
          </p:cNvPr>
          <p:cNvPicPr>
            <a:picLocks noChangeAspect="1" noChangeArrowheads="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1008853" y="1378886"/>
            <a:ext cx="3888000" cy="388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77F2C4CF-CFE6-41BB-A1B7-7B29D7E2A481}"/>
              </a:ext>
            </a:extLst>
          </p:cNvPr>
          <p:cNvSpPr/>
          <p:nvPr/>
        </p:nvSpPr>
        <p:spPr>
          <a:xfrm>
            <a:off x="4459397" y="1523670"/>
            <a:ext cx="5524168" cy="3704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Rectangle 6">
            <a:extLst>
              <a:ext uri="{FF2B5EF4-FFF2-40B4-BE49-F238E27FC236}">
                <a16:creationId xmlns:a16="http://schemas.microsoft.com/office/drawing/2014/main" id="{1EDB890F-1AB6-4C9E-B174-05498DD30C81}"/>
              </a:ext>
            </a:extLst>
          </p:cNvPr>
          <p:cNvSpPr/>
          <p:nvPr/>
        </p:nvSpPr>
        <p:spPr>
          <a:xfrm>
            <a:off x="4670734" y="1311442"/>
            <a:ext cx="7521266" cy="4022888"/>
          </a:xfrm>
          <a:prstGeom prst="rect">
            <a:avLst/>
          </a:prstGeom>
          <a:solidFill>
            <a:srgbClr val="21212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30AB0EE4-4E2E-4EFA-9BAD-8C4ED76ECB88}"/>
              </a:ext>
            </a:extLst>
          </p:cNvPr>
          <p:cNvSpPr txBox="1"/>
          <p:nvPr/>
        </p:nvSpPr>
        <p:spPr>
          <a:xfrm>
            <a:off x="4896853" y="2584222"/>
            <a:ext cx="5524167" cy="1477328"/>
          </a:xfrm>
          <a:prstGeom prst="rect">
            <a:avLst/>
          </a:prstGeom>
          <a:noFill/>
        </p:spPr>
        <p:txBody>
          <a:bodyPr wrap="square" lIns="0" tIns="0" rIns="0" bIns="0" numCol="1" rtlCol="0">
            <a:spAutoFit/>
          </a:bodyPr>
          <a:lstStyle/>
          <a:p>
            <a:r>
              <a:rPr lang="de-DE" altLang="de-DE" sz="9600" dirty="0">
                <a:solidFill>
                  <a:schemeClr val="bg1"/>
                </a:solidFill>
                <a:latin typeface="Franklin Gothic Demi" panose="020B0703020102020204" pitchFamily="34" charset="0"/>
              </a:rPr>
              <a:t>Education</a:t>
            </a:r>
          </a:p>
        </p:txBody>
      </p:sp>
    </p:spTree>
    <p:extLst>
      <p:ext uri="{BB962C8B-B14F-4D97-AF65-F5344CB8AC3E}">
        <p14:creationId xmlns:p14="http://schemas.microsoft.com/office/powerpoint/2010/main" val="2469081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2" presetClass="entr" presetSubtype="2" fill="hold" nodeType="withEffect">
                                  <p:stCondLst>
                                    <p:cond delay="0"/>
                                  </p:stCondLst>
                                  <p:childTnLst>
                                    <p:set>
                                      <p:cBhvr>
                                        <p:cTn id="14" dur="1" fill="hold">
                                          <p:stCondLst>
                                            <p:cond delay="0"/>
                                          </p:stCondLst>
                                        </p:cTn>
                                        <p:tgtEl>
                                          <p:spTgt spid="4100"/>
                                        </p:tgtEl>
                                        <p:attrNameLst>
                                          <p:attrName>style.visibility</p:attrName>
                                        </p:attrNameLst>
                                      </p:cBhvr>
                                      <p:to>
                                        <p:strVal val="visible"/>
                                      </p:to>
                                    </p:set>
                                    <p:anim calcmode="lin" valueType="num">
                                      <p:cBhvr additive="base">
                                        <p:cTn id="15" dur="500" fill="hold"/>
                                        <p:tgtEl>
                                          <p:spTgt spid="4100"/>
                                        </p:tgtEl>
                                        <p:attrNameLst>
                                          <p:attrName>ppt_x</p:attrName>
                                        </p:attrNameLst>
                                      </p:cBhvr>
                                      <p:tavLst>
                                        <p:tav tm="0">
                                          <p:val>
                                            <p:strVal val="1+#ppt_w/2"/>
                                          </p:val>
                                        </p:tav>
                                        <p:tav tm="100000">
                                          <p:val>
                                            <p:strVal val="#ppt_x"/>
                                          </p:val>
                                        </p:tav>
                                      </p:tavLst>
                                    </p:anim>
                                    <p:anim calcmode="lin" valueType="num">
                                      <p:cBhvr additive="base">
                                        <p:cTn id="16" dur="500" fill="hold"/>
                                        <p:tgtEl>
                                          <p:spTgt spid="4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892BE76-5EB4-41D5-957E-7EE4F8FC1B99}"/>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1" name="Rectangle 110">
            <a:extLst>
              <a:ext uri="{FF2B5EF4-FFF2-40B4-BE49-F238E27FC236}">
                <a16:creationId xmlns:a16="http://schemas.microsoft.com/office/drawing/2014/main" id="{1E73F401-D78F-4C17-B4C2-8600B81815D5}"/>
              </a:ext>
            </a:extLst>
          </p:cNvPr>
          <p:cNvSpPr/>
          <p:nvPr/>
        </p:nvSpPr>
        <p:spPr>
          <a:xfrm>
            <a:off x="1" y="-74428"/>
            <a:ext cx="4676086" cy="6932428"/>
          </a:xfrm>
          <a:prstGeom prst="rect">
            <a:avLst/>
          </a:prstGeom>
          <a:solidFill>
            <a:schemeClr val="tx2"/>
          </a:solidFill>
          <a:ln>
            <a:noFill/>
          </a:ln>
          <a:effectLst>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solidFill>
                <a:srgbClr val="44546A"/>
              </a:solidFill>
            </a:endParaRPr>
          </a:p>
        </p:txBody>
      </p:sp>
      <p:pic>
        <p:nvPicPr>
          <p:cNvPr id="110" name="Picture 2" descr="Transparent Stripes Tumblr Huge Freebie Download For Transparent - Clip Art  Library">
            <a:extLst>
              <a:ext uri="{FF2B5EF4-FFF2-40B4-BE49-F238E27FC236}">
                <a16:creationId xmlns:a16="http://schemas.microsoft.com/office/drawing/2014/main" id="{9C466D2F-9BCE-4293-A09C-9F6CAF6B4382}"/>
              </a:ext>
            </a:extLst>
          </p:cNvPr>
          <p:cNvPicPr>
            <a:picLocks noChangeAspect="1" noChangeArrowheads="1"/>
          </p:cNvPicPr>
          <p:nvPr/>
        </p:nvPicPr>
        <p:blipFill>
          <a:blip r:embed="rId3">
            <a:alphaModFix amt="2000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0" y="0"/>
            <a:ext cx="4713554" cy="6858000"/>
          </a:xfrm>
          <a:prstGeom prst="rect">
            <a:avLst/>
          </a:prstGeom>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grpSp>
        <p:nvGrpSpPr>
          <p:cNvPr id="112" name="Group 111">
            <a:extLst>
              <a:ext uri="{FF2B5EF4-FFF2-40B4-BE49-F238E27FC236}">
                <a16:creationId xmlns:a16="http://schemas.microsoft.com/office/drawing/2014/main" id="{DE22BEAE-3A4E-4FCC-862B-D02B8AAEAF36}"/>
              </a:ext>
            </a:extLst>
          </p:cNvPr>
          <p:cNvGrpSpPr/>
          <p:nvPr/>
        </p:nvGrpSpPr>
        <p:grpSpPr>
          <a:xfrm>
            <a:off x="108565" y="0"/>
            <a:ext cx="4356100" cy="6521659"/>
            <a:chOff x="1852307" y="193332"/>
            <a:chExt cx="4356100" cy="6521659"/>
          </a:xfrm>
        </p:grpSpPr>
        <p:grpSp>
          <p:nvGrpSpPr>
            <p:cNvPr id="113" name="Graphic 6" descr="A desktop with a ruler and various office supplies">
              <a:extLst>
                <a:ext uri="{FF2B5EF4-FFF2-40B4-BE49-F238E27FC236}">
                  <a16:creationId xmlns:a16="http://schemas.microsoft.com/office/drawing/2014/main" id="{08E1B3E2-081A-4951-8E68-ABE113552843}"/>
                </a:ext>
              </a:extLst>
            </p:cNvPr>
            <p:cNvGrpSpPr/>
            <p:nvPr/>
          </p:nvGrpSpPr>
          <p:grpSpPr>
            <a:xfrm>
              <a:off x="5678938" y="4139463"/>
              <a:ext cx="296494" cy="2575528"/>
              <a:chOff x="5678938" y="4139463"/>
              <a:chExt cx="296494" cy="2575528"/>
            </a:xfrm>
          </p:grpSpPr>
          <p:sp>
            <p:nvSpPr>
              <p:cNvPr id="208" name="Freeform: Shape 207">
                <a:extLst>
                  <a:ext uri="{FF2B5EF4-FFF2-40B4-BE49-F238E27FC236}">
                    <a16:creationId xmlns:a16="http://schemas.microsoft.com/office/drawing/2014/main" id="{831697FF-39BF-4672-ABDF-523DF41018EE}"/>
                  </a:ext>
                </a:extLst>
              </p:cNvPr>
              <p:cNvSpPr/>
              <p:nvPr/>
            </p:nvSpPr>
            <p:spPr>
              <a:xfrm>
                <a:off x="5696978" y="6601904"/>
                <a:ext cx="168230" cy="113087"/>
              </a:xfrm>
              <a:custGeom>
                <a:avLst/>
                <a:gdLst>
                  <a:gd name="connsiteX0" fmla="*/ 0 w 168230"/>
                  <a:gd name="connsiteY0" fmla="*/ 0 h 113087"/>
                  <a:gd name="connsiteX1" fmla="*/ 168230 w 168230"/>
                  <a:gd name="connsiteY1" fmla="*/ 0 h 113087"/>
                  <a:gd name="connsiteX2" fmla="*/ 168230 w 168230"/>
                  <a:gd name="connsiteY2" fmla="*/ 113087 h 113087"/>
                  <a:gd name="connsiteX3" fmla="*/ 0 w 168230"/>
                  <a:gd name="connsiteY3" fmla="*/ 113087 h 113087"/>
                </a:gdLst>
                <a:ahLst/>
                <a:cxnLst>
                  <a:cxn ang="0">
                    <a:pos x="connsiteX0" y="connsiteY0"/>
                  </a:cxn>
                  <a:cxn ang="0">
                    <a:pos x="connsiteX1" y="connsiteY1"/>
                  </a:cxn>
                  <a:cxn ang="0">
                    <a:pos x="connsiteX2" y="connsiteY2"/>
                  </a:cxn>
                  <a:cxn ang="0">
                    <a:pos x="connsiteX3" y="connsiteY3"/>
                  </a:cxn>
                </a:cxnLst>
                <a:rect l="l" t="t" r="r" b="b"/>
                <a:pathLst>
                  <a:path w="168230" h="113087">
                    <a:moveTo>
                      <a:pt x="0" y="0"/>
                    </a:moveTo>
                    <a:lnTo>
                      <a:pt x="168230" y="0"/>
                    </a:lnTo>
                    <a:lnTo>
                      <a:pt x="168230" y="113087"/>
                    </a:lnTo>
                    <a:lnTo>
                      <a:pt x="0" y="113087"/>
                    </a:lnTo>
                    <a:close/>
                  </a:path>
                </a:pathLst>
              </a:custGeom>
              <a:solidFill>
                <a:srgbClr val="D2D2D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09" name="Freeform: Shape 208">
                <a:extLst>
                  <a:ext uri="{FF2B5EF4-FFF2-40B4-BE49-F238E27FC236}">
                    <a16:creationId xmlns:a16="http://schemas.microsoft.com/office/drawing/2014/main" id="{AE65F491-FD49-4243-9FBD-BFC09D78CABD}"/>
                  </a:ext>
                </a:extLst>
              </p:cNvPr>
              <p:cNvSpPr/>
              <p:nvPr/>
            </p:nvSpPr>
            <p:spPr>
              <a:xfrm>
                <a:off x="5679420" y="4326890"/>
                <a:ext cx="203511" cy="2319464"/>
              </a:xfrm>
              <a:custGeom>
                <a:avLst/>
                <a:gdLst>
                  <a:gd name="connsiteX0" fmla="*/ 203511 w 203511"/>
                  <a:gd name="connsiteY0" fmla="*/ 2319465 h 2319464"/>
                  <a:gd name="connsiteX1" fmla="*/ 0 w 203511"/>
                  <a:gd name="connsiteY1" fmla="*/ 2319465 h 2319464"/>
                  <a:gd name="connsiteX2" fmla="*/ 0 w 203511"/>
                  <a:gd name="connsiteY2" fmla="*/ 25082 h 2319464"/>
                  <a:gd name="connsiteX3" fmla="*/ 101302 w 203511"/>
                  <a:gd name="connsiteY3" fmla="*/ 0 h 2319464"/>
                  <a:gd name="connsiteX4" fmla="*/ 203511 w 203511"/>
                  <a:gd name="connsiteY4" fmla="*/ 25241 h 2319464"/>
                  <a:gd name="connsiteX5" fmla="*/ 203511 w 203511"/>
                  <a:gd name="connsiteY5" fmla="*/ 2319465 h 231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511" h="2319464">
                    <a:moveTo>
                      <a:pt x="203511" y="2319465"/>
                    </a:moveTo>
                    <a:lnTo>
                      <a:pt x="0" y="2319465"/>
                    </a:lnTo>
                    <a:lnTo>
                      <a:pt x="0" y="25082"/>
                    </a:lnTo>
                    <a:cubicBezTo>
                      <a:pt x="0" y="25082"/>
                      <a:pt x="27324" y="0"/>
                      <a:pt x="101302" y="0"/>
                    </a:cubicBezTo>
                    <a:cubicBezTo>
                      <a:pt x="175279" y="0"/>
                      <a:pt x="203511" y="25241"/>
                      <a:pt x="203511" y="25241"/>
                    </a:cubicBezTo>
                    <a:lnTo>
                      <a:pt x="203511" y="2319465"/>
                    </a:lnTo>
                    <a:close/>
                  </a:path>
                </a:pathLst>
              </a:custGeom>
              <a:solidFill>
                <a:srgbClr val="E6E6E6"/>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10" name="Freeform: Shape 209">
                <a:extLst>
                  <a:ext uri="{FF2B5EF4-FFF2-40B4-BE49-F238E27FC236}">
                    <a16:creationId xmlns:a16="http://schemas.microsoft.com/office/drawing/2014/main" id="{B5037838-650E-4139-94ED-787E1DF659CD}"/>
                  </a:ext>
                </a:extLst>
              </p:cNvPr>
              <p:cNvSpPr/>
              <p:nvPr/>
            </p:nvSpPr>
            <p:spPr>
              <a:xfrm>
                <a:off x="5678938" y="5014112"/>
                <a:ext cx="204470" cy="65932"/>
              </a:xfrm>
              <a:custGeom>
                <a:avLst/>
                <a:gdLst>
                  <a:gd name="connsiteX0" fmla="*/ 0 w 204470"/>
                  <a:gd name="connsiteY0" fmla="*/ 0 h 65932"/>
                  <a:gd name="connsiteX1" fmla="*/ 204470 w 204470"/>
                  <a:gd name="connsiteY1" fmla="*/ 0 h 65932"/>
                  <a:gd name="connsiteX2" fmla="*/ 204470 w 204470"/>
                  <a:gd name="connsiteY2" fmla="*/ 65932 h 65932"/>
                  <a:gd name="connsiteX3" fmla="*/ 0 w 204470"/>
                  <a:gd name="connsiteY3" fmla="*/ 65932 h 65932"/>
                </a:gdLst>
                <a:ahLst/>
                <a:cxnLst>
                  <a:cxn ang="0">
                    <a:pos x="connsiteX0" y="connsiteY0"/>
                  </a:cxn>
                  <a:cxn ang="0">
                    <a:pos x="connsiteX1" y="connsiteY1"/>
                  </a:cxn>
                  <a:cxn ang="0">
                    <a:pos x="connsiteX2" y="connsiteY2"/>
                  </a:cxn>
                  <a:cxn ang="0">
                    <a:pos x="connsiteX3" y="connsiteY3"/>
                  </a:cxn>
                </a:cxnLst>
                <a:rect l="l" t="t" r="r" b="b"/>
                <a:pathLst>
                  <a:path w="204470" h="65932">
                    <a:moveTo>
                      <a:pt x="0" y="0"/>
                    </a:moveTo>
                    <a:lnTo>
                      <a:pt x="204470" y="0"/>
                    </a:lnTo>
                    <a:lnTo>
                      <a:pt x="204470" y="65932"/>
                    </a:lnTo>
                    <a:lnTo>
                      <a:pt x="0" y="65932"/>
                    </a:ln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11" name="Freeform: Shape 210">
                <a:extLst>
                  <a:ext uri="{FF2B5EF4-FFF2-40B4-BE49-F238E27FC236}">
                    <a16:creationId xmlns:a16="http://schemas.microsoft.com/office/drawing/2014/main" id="{79582733-C488-46F1-B1C8-F248A1A1DB60}"/>
                  </a:ext>
                </a:extLst>
              </p:cNvPr>
              <p:cNvSpPr/>
              <p:nvPr/>
            </p:nvSpPr>
            <p:spPr>
              <a:xfrm>
                <a:off x="5678938" y="5113826"/>
                <a:ext cx="204470" cy="12395"/>
              </a:xfrm>
              <a:custGeom>
                <a:avLst/>
                <a:gdLst>
                  <a:gd name="connsiteX0" fmla="*/ 0 w 204470"/>
                  <a:gd name="connsiteY0" fmla="*/ 0 h 12395"/>
                  <a:gd name="connsiteX1" fmla="*/ 204470 w 204470"/>
                  <a:gd name="connsiteY1" fmla="*/ 0 h 12395"/>
                  <a:gd name="connsiteX2" fmla="*/ 204470 w 204470"/>
                  <a:gd name="connsiteY2" fmla="*/ 12396 h 12395"/>
                  <a:gd name="connsiteX3" fmla="*/ 0 w 204470"/>
                  <a:gd name="connsiteY3" fmla="*/ 12396 h 12395"/>
                </a:gdLst>
                <a:ahLst/>
                <a:cxnLst>
                  <a:cxn ang="0">
                    <a:pos x="connsiteX0" y="connsiteY0"/>
                  </a:cxn>
                  <a:cxn ang="0">
                    <a:pos x="connsiteX1" y="connsiteY1"/>
                  </a:cxn>
                  <a:cxn ang="0">
                    <a:pos x="connsiteX2" y="connsiteY2"/>
                  </a:cxn>
                  <a:cxn ang="0">
                    <a:pos x="connsiteX3" y="connsiteY3"/>
                  </a:cxn>
                </a:cxnLst>
                <a:rect l="l" t="t" r="r" b="b"/>
                <a:pathLst>
                  <a:path w="204470" h="12395">
                    <a:moveTo>
                      <a:pt x="0" y="0"/>
                    </a:moveTo>
                    <a:lnTo>
                      <a:pt x="204470" y="0"/>
                    </a:lnTo>
                    <a:lnTo>
                      <a:pt x="204470" y="12396"/>
                    </a:lnTo>
                    <a:lnTo>
                      <a:pt x="0" y="12396"/>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12" name="Freeform: Shape 211">
                <a:extLst>
                  <a:ext uri="{FF2B5EF4-FFF2-40B4-BE49-F238E27FC236}">
                    <a16:creationId xmlns:a16="http://schemas.microsoft.com/office/drawing/2014/main" id="{9F59FC80-D083-486C-9DA1-CD30AE2D92AA}"/>
                  </a:ext>
                </a:extLst>
              </p:cNvPr>
              <p:cNvSpPr/>
              <p:nvPr/>
            </p:nvSpPr>
            <p:spPr>
              <a:xfrm>
                <a:off x="5679420" y="4139463"/>
                <a:ext cx="296011" cy="934720"/>
              </a:xfrm>
              <a:custGeom>
                <a:avLst/>
                <a:gdLst>
                  <a:gd name="connsiteX0" fmla="*/ 240513 w 296011"/>
                  <a:gd name="connsiteY0" fmla="*/ 157258 h 934720"/>
                  <a:gd name="connsiteX1" fmla="*/ 240513 w 296011"/>
                  <a:gd name="connsiteY1" fmla="*/ 157258 h 934720"/>
                  <a:gd name="connsiteX2" fmla="*/ 203511 w 296011"/>
                  <a:gd name="connsiteY2" fmla="*/ 157258 h 934720"/>
                  <a:gd name="connsiteX3" fmla="*/ 203511 w 296011"/>
                  <a:gd name="connsiteY3" fmla="*/ 0 h 934720"/>
                  <a:gd name="connsiteX4" fmla="*/ 0 w 296011"/>
                  <a:gd name="connsiteY4" fmla="*/ 0 h 934720"/>
                  <a:gd name="connsiteX5" fmla="*/ 0 w 296011"/>
                  <a:gd name="connsiteY5" fmla="*/ 212763 h 934720"/>
                  <a:gd name="connsiteX6" fmla="*/ 240513 w 296011"/>
                  <a:gd name="connsiteY6" fmla="*/ 212763 h 934720"/>
                  <a:gd name="connsiteX7" fmla="*/ 240513 w 296011"/>
                  <a:gd name="connsiteY7" fmla="*/ 879221 h 934720"/>
                  <a:gd name="connsiteX8" fmla="*/ 296012 w 296011"/>
                  <a:gd name="connsiteY8" fmla="*/ 934720 h 934720"/>
                  <a:gd name="connsiteX9" fmla="*/ 296012 w 296011"/>
                  <a:gd name="connsiteY9" fmla="*/ 212770 h 934720"/>
                  <a:gd name="connsiteX10" fmla="*/ 240513 w 296011"/>
                  <a:gd name="connsiteY10" fmla="*/ 157258 h 93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011" h="934720">
                    <a:moveTo>
                      <a:pt x="240513" y="157258"/>
                    </a:moveTo>
                    <a:lnTo>
                      <a:pt x="240513" y="157258"/>
                    </a:lnTo>
                    <a:lnTo>
                      <a:pt x="203511" y="157258"/>
                    </a:lnTo>
                    <a:lnTo>
                      <a:pt x="203511" y="0"/>
                    </a:lnTo>
                    <a:lnTo>
                      <a:pt x="0" y="0"/>
                    </a:lnTo>
                    <a:lnTo>
                      <a:pt x="0" y="212763"/>
                    </a:lnTo>
                    <a:lnTo>
                      <a:pt x="240513" y="212763"/>
                    </a:lnTo>
                    <a:lnTo>
                      <a:pt x="240513" y="879221"/>
                    </a:lnTo>
                    <a:cubicBezTo>
                      <a:pt x="240513" y="909873"/>
                      <a:pt x="265360" y="934720"/>
                      <a:pt x="296012" y="934720"/>
                    </a:cubicBezTo>
                    <a:lnTo>
                      <a:pt x="296012" y="212770"/>
                    </a:lnTo>
                    <a:cubicBezTo>
                      <a:pt x="296012" y="182106"/>
                      <a:pt x="271164" y="157258"/>
                      <a:pt x="240513" y="157258"/>
                    </a:cubicBezTo>
                    <a:close/>
                  </a:path>
                </a:pathLst>
              </a:custGeom>
              <a:solidFill>
                <a:srgbClr val="D2D2D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14" name="Graphic 6" descr="A desktop with a ruler and various office supplies">
              <a:extLst>
                <a:ext uri="{FF2B5EF4-FFF2-40B4-BE49-F238E27FC236}">
                  <a16:creationId xmlns:a16="http://schemas.microsoft.com/office/drawing/2014/main" id="{1BA83DD6-89AD-4919-92CE-6AEED0D75C00}"/>
                </a:ext>
              </a:extLst>
            </p:cNvPr>
            <p:cNvGrpSpPr/>
            <p:nvPr/>
          </p:nvGrpSpPr>
          <p:grpSpPr>
            <a:xfrm>
              <a:off x="1852307" y="3498094"/>
              <a:ext cx="2978670" cy="2978651"/>
              <a:chOff x="1852307" y="3498094"/>
              <a:chExt cx="2978670" cy="2978651"/>
            </a:xfrm>
          </p:grpSpPr>
          <p:sp>
            <p:nvSpPr>
              <p:cNvPr id="162" name="Freeform: Shape 161">
                <a:extLst>
                  <a:ext uri="{FF2B5EF4-FFF2-40B4-BE49-F238E27FC236}">
                    <a16:creationId xmlns:a16="http://schemas.microsoft.com/office/drawing/2014/main" id="{DC819A41-7A95-4173-81B0-981206115D40}"/>
                  </a:ext>
                </a:extLst>
              </p:cNvPr>
              <p:cNvSpPr/>
              <p:nvPr/>
            </p:nvSpPr>
            <p:spPr>
              <a:xfrm>
                <a:off x="1852307" y="3498094"/>
                <a:ext cx="2978670" cy="2978651"/>
              </a:xfrm>
              <a:custGeom>
                <a:avLst/>
                <a:gdLst>
                  <a:gd name="connsiteX0" fmla="*/ 0 w 2978670"/>
                  <a:gd name="connsiteY0" fmla="*/ 2978652 h 2978651"/>
                  <a:gd name="connsiteX1" fmla="*/ 2978671 w 2978670"/>
                  <a:gd name="connsiteY1" fmla="*/ 2978652 h 2978651"/>
                  <a:gd name="connsiteX2" fmla="*/ 2978671 w 2978670"/>
                  <a:gd name="connsiteY2" fmla="*/ 0 h 2978651"/>
                  <a:gd name="connsiteX3" fmla="*/ 0 w 2978670"/>
                  <a:gd name="connsiteY3" fmla="*/ 2978652 h 2978651"/>
                  <a:gd name="connsiteX4" fmla="*/ 2402739 w 2978670"/>
                  <a:gd name="connsiteY4" fmla="*/ 2429809 h 2978651"/>
                  <a:gd name="connsiteX5" fmla="*/ 1326775 w 2978670"/>
                  <a:gd name="connsiteY5" fmla="*/ 2429085 h 2978651"/>
                  <a:gd name="connsiteX6" fmla="*/ 1326014 w 2978670"/>
                  <a:gd name="connsiteY6" fmla="*/ 2429809 h 2978651"/>
                  <a:gd name="connsiteX7" fmla="*/ 1326775 w 2978670"/>
                  <a:gd name="connsiteY7" fmla="*/ 2429085 h 2978651"/>
                  <a:gd name="connsiteX8" fmla="*/ 2402739 w 2978670"/>
                  <a:gd name="connsiteY8" fmla="*/ 1418419 h 2978651"/>
                  <a:gd name="connsiteX9" fmla="*/ 2402739 w 2978670"/>
                  <a:gd name="connsiteY9" fmla="*/ 2429809 h 297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8670" h="2978651">
                    <a:moveTo>
                      <a:pt x="0" y="2978652"/>
                    </a:moveTo>
                    <a:lnTo>
                      <a:pt x="2978671" y="2978652"/>
                    </a:lnTo>
                    <a:lnTo>
                      <a:pt x="2978671" y="0"/>
                    </a:lnTo>
                    <a:lnTo>
                      <a:pt x="0" y="2978652"/>
                    </a:lnTo>
                    <a:close/>
                    <a:moveTo>
                      <a:pt x="2402739" y="2429809"/>
                    </a:moveTo>
                    <a:cubicBezTo>
                      <a:pt x="2402739" y="2429809"/>
                      <a:pt x="1357884" y="2417979"/>
                      <a:pt x="1326775" y="2429085"/>
                    </a:cubicBezTo>
                    <a:lnTo>
                      <a:pt x="1326014" y="2429809"/>
                    </a:lnTo>
                    <a:cubicBezTo>
                      <a:pt x="1325759" y="2429555"/>
                      <a:pt x="1326134" y="2429313"/>
                      <a:pt x="1326775" y="2429085"/>
                    </a:cubicBezTo>
                    <a:lnTo>
                      <a:pt x="2402739" y="1418419"/>
                    </a:lnTo>
                    <a:lnTo>
                      <a:pt x="2402739" y="2429809"/>
                    </a:lnTo>
                    <a:close/>
                  </a:path>
                </a:pathLst>
              </a:custGeom>
              <a:solidFill>
                <a:srgbClr val="D2D2D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nvGrpSpPr>
              <p:cNvPr id="163" name="Graphic 6" descr="A desktop with a ruler and various office supplies">
                <a:extLst>
                  <a:ext uri="{FF2B5EF4-FFF2-40B4-BE49-F238E27FC236}">
                    <a16:creationId xmlns:a16="http://schemas.microsoft.com/office/drawing/2014/main" id="{6B9B48F1-309E-4A69-8BBD-3677764B825E}"/>
                  </a:ext>
                </a:extLst>
              </p:cNvPr>
              <p:cNvGrpSpPr/>
              <p:nvPr/>
            </p:nvGrpSpPr>
            <p:grpSpPr>
              <a:xfrm>
                <a:off x="4633633" y="3713943"/>
                <a:ext cx="197345" cy="2664072"/>
                <a:chOff x="4633633" y="3713943"/>
                <a:chExt cx="197345" cy="2664072"/>
              </a:xfrm>
              <a:solidFill>
                <a:srgbClr val="F2F2F2"/>
              </a:solidFill>
            </p:grpSpPr>
            <p:sp>
              <p:nvSpPr>
                <p:cNvPr id="164" name="Freeform: Shape 163">
                  <a:extLst>
                    <a:ext uri="{FF2B5EF4-FFF2-40B4-BE49-F238E27FC236}">
                      <a16:creationId xmlns:a16="http://schemas.microsoft.com/office/drawing/2014/main" id="{5029C661-9518-474A-9D8C-93784915C440}"/>
                    </a:ext>
                  </a:extLst>
                </p:cNvPr>
                <p:cNvSpPr/>
                <p:nvPr/>
              </p:nvSpPr>
              <p:spPr>
                <a:xfrm>
                  <a:off x="4719967" y="3713943"/>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65" name="Freeform: Shape 164">
                  <a:extLst>
                    <a:ext uri="{FF2B5EF4-FFF2-40B4-BE49-F238E27FC236}">
                      <a16:creationId xmlns:a16="http://schemas.microsoft.com/office/drawing/2014/main" id="{ADAC1BA7-B3EB-4794-A583-E9CD0E3D2CC8}"/>
                    </a:ext>
                  </a:extLst>
                </p:cNvPr>
                <p:cNvSpPr/>
                <p:nvPr/>
              </p:nvSpPr>
              <p:spPr>
                <a:xfrm>
                  <a:off x="4719967" y="3775608"/>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66" name="Freeform: Shape 165">
                  <a:extLst>
                    <a:ext uri="{FF2B5EF4-FFF2-40B4-BE49-F238E27FC236}">
                      <a16:creationId xmlns:a16="http://schemas.microsoft.com/office/drawing/2014/main" id="{EFFA85BD-0000-4FBA-92CF-1AA3030C461F}"/>
                    </a:ext>
                  </a:extLst>
                </p:cNvPr>
                <p:cNvSpPr/>
                <p:nvPr/>
              </p:nvSpPr>
              <p:spPr>
                <a:xfrm>
                  <a:off x="4719967" y="3837273"/>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67" name="Freeform: Shape 166">
                  <a:extLst>
                    <a:ext uri="{FF2B5EF4-FFF2-40B4-BE49-F238E27FC236}">
                      <a16:creationId xmlns:a16="http://schemas.microsoft.com/office/drawing/2014/main" id="{B150FB51-3A02-4931-A96B-D3A520FAF7C1}"/>
                    </a:ext>
                  </a:extLst>
                </p:cNvPr>
                <p:cNvSpPr/>
                <p:nvPr/>
              </p:nvSpPr>
              <p:spPr>
                <a:xfrm>
                  <a:off x="4633633" y="3898944"/>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68" name="Freeform: Shape 167">
                  <a:extLst>
                    <a:ext uri="{FF2B5EF4-FFF2-40B4-BE49-F238E27FC236}">
                      <a16:creationId xmlns:a16="http://schemas.microsoft.com/office/drawing/2014/main" id="{79236A37-6016-4E90-AD1E-5ADEB0A4407F}"/>
                    </a:ext>
                  </a:extLst>
                </p:cNvPr>
                <p:cNvSpPr/>
                <p:nvPr/>
              </p:nvSpPr>
              <p:spPr>
                <a:xfrm>
                  <a:off x="4719967" y="3960609"/>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69" name="Freeform: Shape 168">
                  <a:extLst>
                    <a:ext uri="{FF2B5EF4-FFF2-40B4-BE49-F238E27FC236}">
                      <a16:creationId xmlns:a16="http://schemas.microsoft.com/office/drawing/2014/main" id="{6A898588-AE09-4E98-BD5D-F87F5D42F99E}"/>
                    </a:ext>
                  </a:extLst>
                </p:cNvPr>
                <p:cNvSpPr/>
                <p:nvPr/>
              </p:nvSpPr>
              <p:spPr>
                <a:xfrm>
                  <a:off x="4719967" y="4022280"/>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0" name="Freeform: Shape 169">
                  <a:extLst>
                    <a:ext uri="{FF2B5EF4-FFF2-40B4-BE49-F238E27FC236}">
                      <a16:creationId xmlns:a16="http://schemas.microsoft.com/office/drawing/2014/main" id="{9197142F-3A01-42DE-A60B-CEC8D35FF18C}"/>
                    </a:ext>
                  </a:extLst>
                </p:cNvPr>
                <p:cNvSpPr/>
                <p:nvPr/>
              </p:nvSpPr>
              <p:spPr>
                <a:xfrm>
                  <a:off x="4719967" y="4083945"/>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1" name="Freeform: Shape 170">
                  <a:extLst>
                    <a:ext uri="{FF2B5EF4-FFF2-40B4-BE49-F238E27FC236}">
                      <a16:creationId xmlns:a16="http://schemas.microsoft.com/office/drawing/2014/main" id="{4A71A531-10F9-4F3C-91FE-82A0E904955A}"/>
                    </a:ext>
                  </a:extLst>
                </p:cNvPr>
                <p:cNvSpPr/>
                <p:nvPr/>
              </p:nvSpPr>
              <p:spPr>
                <a:xfrm>
                  <a:off x="4633633" y="4145616"/>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2" name="Freeform: Shape 171">
                  <a:extLst>
                    <a:ext uri="{FF2B5EF4-FFF2-40B4-BE49-F238E27FC236}">
                      <a16:creationId xmlns:a16="http://schemas.microsoft.com/office/drawing/2014/main" id="{C3388A8F-263D-458F-91F2-8E10462B7575}"/>
                    </a:ext>
                  </a:extLst>
                </p:cNvPr>
                <p:cNvSpPr/>
                <p:nvPr/>
              </p:nvSpPr>
              <p:spPr>
                <a:xfrm>
                  <a:off x="4719967" y="4207287"/>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3" name="Freeform: Shape 172">
                  <a:extLst>
                    <a:ext uri="{FF2B5EF4-FFF2-40B4-BE49-F238E27FC236}">
                      <a16:creationId xmlns:a16="http://schemas.microsoft.com/office/drawing/2014/main" id="{8CF30C33-A371-45F5-B8D8-ED0E1A875D7D}"/>
                    </a:ext>
                  </a:extLst>
                </p:cNvPr>
                <p:cNvSpPr/>
                <p:nvPr/>
              </p:nvSpPr>
              <p:spPr>
                <a:xfrm>
                  <a:off x="4719967" y="4268946"/>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4" name="Freeform: Shape 173">
                  <a:extLst>
                    <a:ext uri="{FF2B5EF4-FFF2-40B4-BE49-F238E27FC236}">
                      <a16:creationId xmlns:a16="http://schemas.microsoft.com/office/drawing/2014/main" id="{C7D62B9C-470E-48FC-AD94-8FF4C6674827}"/>
                    </a:ext>
                  </a:extLst>
                </p:cNvPr>
                <p:cNvSpPr/>
                <p:nvPr/>
              </p:nvSpPr>
              <p:spPr>
                <a:xfrm>
                  <a:off x="4719967" y="4330617"/>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5" name="Freeform: Shape 174">
                  <a:extLst>
                    <a:ext uri="{FF2B5EF4-FFF2-40B4-BE49-F238E27FC236}">
                      <a16:creationId xmlns:a16="http://schemas.microsoft.com/office/drawing/2014/main" id="{D09C4002-0AA5-437A-A8E3-304A09FBFF1D}"/>
                    </a:ext>
                  </a:extLst>
                </p:cNvPr>
                <p:cNvSpPr/>
                <p:nvPr/>
              </p:nvSpPr>
              <p:spPr>
                <a:xfrm>
                  <a:off x="4633633" y="4392282"/>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6" name="Freeform: Shape 175">
                  <a:extLst>
                    <a:ext uri="{FF2B5EF4-FFF2-40B4-BE49-F238E27FC236}">
                      <a16:creationId xmlns:a16="http://schemas.microsoft.com/office/drawing/2014/main" id="{2E51BEBC-921D-42B0-B50C-3D8FFEF488FA}"/>
                    </a:ext>
                  </a:extLst>
                </p:cNvPr>
                <p:cNvSpPr/>
                <p:nvPr/>
              </p:nvSpPr>
              <p:spPr>
                <a:xfrm>
                  <a:off x="4719967" y="4453953"/>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7" name="Freeform: Shape 176">
                  <a:extLst>
                    <a:ext uri="{FF2B5EF4-FFF2-40B4-BE49-F238E27FC236}">
                      <a16:creationId xmlns:a16="http://schemas.microsoft.com/office/drawing/2014/main" id="{5306647B-17C9-4B87-B9EB-67FC4123AF56}"/>
                    </a:ext>
                  </a:extLst>
                </p:cNvPr>
                <p:cNvSpPr/>
                <p:nvPr/>
              </p:nvSpPr>
              <p:spPr>
                <a:xfrm>
                  <a:off x="4719967" y="4515624"/>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8" name="Freeform: Shape 177">
                  <a:extLst>
                    <a:ext uri="{FF2B5EF4-FFF2-40B4-BE49-F238E27FC236}">
                      <a16:creationId xmlns:a16="http://schemas.microsoft.com/office/drawing/2014/main" id="{D1853E13-9A41-45CC-80D5-58E8467E04E3}"/>
                    </a:ext>
                  </a:extLst>
                </p:cNvPr>
                <p:cNvSpPr/>
                <p:nvPr/>
              </p:nvSpPr>
              <p:spPr>
                <a:xfrm>
                  <a:off x="4719967" y="4577289"/>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79" name="Freeform: Shape 178">
                  <a:extLst>
                    <a:ext uri="{FF2B5EF4-FFF2-40B4-BE49-F238E27FC236}">
                      <a16:creationId xmlns:a16="http://schemas.microsoft.com/office/drawing/2014/main" id="{46E96AA3-FAA0-41E5-BD3A-BE9DD68EADF2}"/>
                    </a:ext>
                  </a:extLst>
                </p:cNvPr>
                <p:cNvSpPr/>
                <p:nvPr/>
              </p:nvSpPr>
              <p:spPr>
                <a:xfrm>
                  <a:off x="4633633" y="4638960"/>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0" name="Freeform: Shape 179">
                  <a:extLst>
                    <a:ext uri="{FF2B5EF4-FFF2-40B4-BE49-F238E27FC236}">
                      <a16:creationId xmlns:a16="http://schemas.microsoft.com/office/drawing/2014/main" id="{6B80DAD4-BD74-478A-B52F-DF3B52091F3B}"/>
                    </a:ext>
                  </a:extLst>
                </p:cNvPr>
                <p:cNvSpPr/>
                <p:nvPr/>
              </p:nvSpPr>
              <p:spPr>
                <a:xfrm>
                  <a:off x="4719967" y="4700625"/>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1" name="Freeform: Shape 180">
                  <a:extLst>
                    <a:ext uri="{FF2B5EF4-FFF2-40B4-BE49-F238E27FC236}">
                      <a16:creationId xmlns:a16="http://schemas.microsoft.com/office/drawing/2014/main" id="{2288087E-2A82-40F3-AA50-B53486318E48}"/>
                    </a:ext>
                  </a:extLst>
                </p:cNvPr>
                <p:cNvSpPr/>
                <p:nvPr/>
              </p:nvSpPr>
              <p:spPr>
                <a:xfrm>
                  <a:off x="4719967" y="4762290"/>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2" name="Freeform: Shape 181">
                  <a:extLst>
                    <a:ext uri="{FF2B5EF4-FFF2-40B4-BE49-F238E27FC236}">
                      <a16:creationId xmlns:a16="http://schemas.microsoft.com/office/drawing/2014/main" id="{588B64F6-C84B-407C-BA13-48896A90AFE9}"/>
                    </a:ext>
                  </a:extLst>
                </p:cNvPr>
                <p:cNvSpPr/>
                <p:nvPr/>
              </p:nvSpPr>
              <p:spPr>
                <a:xfrm>
                  <a:off x="4719967" y="4823961"/>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3" name="Freeform: Shape 182">
                  <a:extLst>
                    <a:ext uri="{FF2B5EF4-FFF2-40B4-BE49-F238E27FC236}">
                      <a16:creationId xmlns:a16="http://schemas.microsoft.com/office/drawing/2014/main" id="{2A1F12F0-84E2-4BA1-8959-0799985FE160}"/>
                    </a:ext>
                  </a:extLst>
                </p:cNvPr>
                <p:cNvSpPr/>
                <p:nvPr/>
              </p:nvSpPr>
              <p:spPr>
                <a:xfrm>
                  <a:off x="4633633" y="4885626"/>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4" name="Freeform: Shape 183">
                  <a:extLst>
                    <a:ext uri="{FF2B5EF4-FFF2-40B4-BE49-F238E27FC236}">
                      <a16:creationId xmlns:a16="http://schemas.microsoft.com/office/drawing/2014/main" id="{D0EA0807-15D5-47B3-B6BE-DDE16CF59FA0}"/>
                    </a:ext>
                  </a:extLst>
                </p:cNvPr>
                <p:cNvSpPr/>
                <p:nvPr/>
              </p:nvSpPr>
              <p:spPr>
                <a:xfrm>
                  <a:off x="4719967" y="4947297"/>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5" name="Freeform: Shape 184">
                  <a:extLst>
                    <a:ext uri="{FF2B5EF4-FFF2-40B4-BE49-F238E27FC236}">
                      <a16:creationId xmlns:a16="http://schemas.microsoft.com/office/drawing/2014/main" id="{5CEB7361-1B21-4D03-AFDD-4308620FB2A5}"/>
                    </a:ext>
                  </a:extLst>
                </p:cNvPr>
                <p:cNvSpPr/>
                <p:nvPr/>
              </p:nvSpPr>
              <p:spPr>
                <a:xfrm>
                  <a:off x="4719967" y="5008962"/>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6" name="Freeform: Shape 185">
                  <a:extLst>
                    <a:ext uri="{FF2B5EF4-FFF2-40B4-BE49-F238E27FC236}">
                      <a16:creationId xmlns:a16="http://schemas.microsoft.com/office/drawing/2014/main" id="{D99DDE47-E39D-4E79-8AB5-5EA3D7530402}"/>
                    </a:ext>
                  </a:extLst>
                </p:cNvPr>
                <p:cNvSpPr/>
                <p:nvPr/>
              </p:nvSpPr>
              <p:spPr>
                <a:xfrm>
                  <a:off x="4719967" y="5070633"/>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7" name="Freeform: Shape 186">
                  <a:extLst>
                    <a:ext uri="{FF2B5EF4-FFF2-40B4-BE49-F238E27FC236}">
                      <a16:creationId xmlns:a16="http://schemas.microsoft.com/office/drawing/2014/main" id="{F9A465DA-18A6-450C-8FDF-1B99A5AE0201}"/>
                    </a:ext>
                  </a:extLst>
                </p:cNvPr>
                <p:cNvSpPr/>
                <p:nvPr/>
              </p:nvSpPr>
              <p:spPr>
                <a:xfrm>
                  <a:off x="4633633" y="5132304"/>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8" name="Freeform: Shape 187">
                  <a:extLst>
                    <a:ext uri="{FF2B5EF4-FFF2-40B4-BE49-F238E27FC236}">
                      <a16:creationId xmlns:a16="http://schemas.microsoft.com/office/drawing/2014/main" id="{687FAF86-E161-4116-869F-B21A283B1EEA}"/>
                    </a:ext>
                  </a:extLst>
                </p:cNvPr>
                <p:cNvSpPr/>
                <p:nvPr/>
              </p:nvSpPr>
              <p:spPr>
                <a:xfrm>
                  <a:off x="4719967" y="5193963"/>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89" name="Freeform: Shape 188">
                  <a:extLst>
                    <a:ext uri="{FF2B5EF4-FFF2-40B4-BE49-F238E27FC236}">
                      <a16:creationId xmlns:a16="http://schemas.microsoft.com/office/drawing/2014/main" id="{7CFC529A-391A-4F83-9070-08369DFB9E45}"/>
                    </a:ext>
                  </a:extLst>
                </p:cNvPr>
                <p:cNvSpPr/>
                <p:nvPr/>
              </p:nvSpPr>
              <p:spPr>
                <a:xfrm>
                  <a:off x="4719967" y="5255634"/>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0" name="Freeform: Shape 189">
                  <a:extLst>
                    <a:ext uri="{FF2B5EF4-FFF2-40B4-BE49-F238E27FC236}">
                      <a16:creationId xmlns:a16="http://schemas.microsoft.com/office/drawing/2014/main" id="{6BDD737B-C2AD-49BC-8F08-3C95E8842C94}"/>
                    </a:ext>
                  </a:extLst>
                </p:cNvPr>
                <p:cNvSpPr/>
                <p:nvPr/>
              </p:nvSpPr>
              <p:spPr>
                <a:xfrm>
                  <a:off x="4719967" y="5317299"/>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1" name="Freeform: Shape 190">
                  <a:extLst>
                    <a:ext uri="{FF2B5EF4-FFF2-40B4-BE49-F238E27FC236}">
                      <a16:creationId xmlns:a16="http://schemas.microsoft.com/office/drawing/2014/main" id="{22AD2237-D3C8-4EDB-AD51-5160AC1FAD49}"/>
                    </a:ext>
                  </a:extLst>
                </p:cNvPr>
                <p:cNvSpPr/>
                <p:nvPr/>
              </p:nvSpPr>
              <p:spPr>
                <a:xfrm>
                  <a:off x="4633633" y="5378970"/>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2" name="Freeform: Shape 191">
                  <a:extLst>
                    <a:ext uri="{FF2B5EF4-FFF2-40B4-BE49-F238E27FC236}">
                      <a16:creationId xmlns:a16="http://schemas.microsoft.com/office/drawing/2014/main" id="{97D455A6-EDF0-4BCA-81FC-93E14FA5F6B3}"/>
                    </a:ext>
                  </a:extLst>
                </p:cNvPr>
                <p:cNvSpPr/>
                <p:nvPr/>
              </p:nvSpPr>
              <p:spPr>
                <a:xfrm>
                  <a:off x="4719967" y="5440635"/>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3" name="Freeform: Shape 192">
                  <a:extLst>
                    <a:ext uri="{FF2B5EF4-FFF2-40B4-BE49-F238E27FC236}">
                      <a16:creationId xmlns:a16="http://schemas.microsoft.com/office/drawing/2014/main" id="{8BA90947-9F0C-4E6B-8C8B-86C0B8F13548}"/>
                    </a:ext>
                  </a:extLst>
                </p:cNvPr>
                <p:cNvSpPr/>
                <p:nvPr/>
              </p:nvSpPr>
              <p:spPr>
                <a:xfrm>
                  <a:off x="4719967" y="5502306"/>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4" name="Freeform: Shape 193">
                  <a:extLst>
                    <a:ext uri="{FF2B5EF4-FFF2-40B4-BE49-F238E27FC236}">
                      <a16:creationId xmlns:a16="http://schemas.microsoft.com/office/drawing/2014/main" id="{75D55DCC-3271-48F6-81E8-B05FFA7B28E9}"/>
                    </a:ext>
                  </a:extLst>
                </p:cNvPr>
                <p:cNvSpPr/>
                <p:nvPr/>
              </p:nvSpPr>
              <p:spPr>
                <a:xfrm>
                  <a:off x="4719967" y="5563977"/>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5" name="Freeform: Shape 194">
                  <a:extLst>
                    <a:ext uri="{FF2B5EF4-FFF2-40B4-BE49-F238E27FC236}">
                      <a16:creationId xmlns:a16="http://schemas.microsoft.com/office/drawing/2014/main" id="{79611B33-0459-4D84-8789-B06662482804}"/>
                    </a:ext>
                  </a:extLst>
                </p:cNvPr>
                <p:cNvSpPr/>
                <p:nvPr/>
              </p:nvSpPr>
              <p:spPr>
                <a:xfrm>
                  <a:off x="4633633" y="5625636"/>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6" name="Freeform: Shape 195">
                  <a:extLst>
                    <a:ext uri="{FF2B5EF4-FFF2-40B4-BE49-F238E27FC236}">
                      <a16:creationId xmlns:a16="http://schemas.microsoft.com/office/drawing/2014/main" id="{05A5F32E-2A82-4CB3-AA7A-8237B25D67E9}"/>
                    </a:ext>
                  </a:extLst>
                </p:cNvPr>
                <p:cNvSpPr/>
                <p:nvPr/>
              </p:nvSpPr>
              <p:spPr>
                <a:xfrm>
                  <a:off x="4719967" y="5687307"/>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7" name="Freeform: Shape 196">
                  <a:extLst>
                    <a:ext uri="{FF2B5EF4-FFF2-40B4-BE49-F238E27FC236}">
                      <a16:creationId xmlns:a16="http://schemas.microsoft.com/office/drawing/2014/main" id="{C1CD7C87-182B-4D04-89D9-B620A8E29CEE}"/>
                    </a:ext>
                  </a:extLst>
                </p:cNvPr>
                <p:cNvSpPr/>
                <p:nvPr/>
              </p:nvSpPr>
              <p:spPr>
                <a:xfrm>
                  <a:off x="4719967" y="5748972"/>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8" name="Freeform: Shape 197">
                  <a:extLst>
                    <a:ext uri="{FF2B5EF4-FFF2-40B4-BE49-F238E27FC236}">
                      <a16:creationId xmlns:a16="http://schemas.microsoft.com/office/drawing/2014/main" id="{BCEF460B-104A-4134-80CA-4A844561D121}"/>
                    </a:ext>
                  </a:extLst>
                </p:cNvPr>
                <p:cNvSpPr/>
                <p:nvPr/>
              </p:nvSpPr>
              <p:spPr>
                <a:xfrm>
                  <a:off x="4719967" y="5810643"/>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99" name="Freeform: Shape 198">
                  <a:extLst>
                    <a:ext uri="{FF2B5EF4-FFF2-40B4-BE49-F238E27FC236}">
                      <a16:creationId xmlns:a16="http://schemas.microsoft.com/office/drawing/2014/main" id="{308DC7CD-6A21-48DA-9E36-596B6514F314}"/>
                    </a:ext>
                  </a:extLst>
                </p:cNvPr>
                <p:cNvSpPr/>
                <p:nvPr/>
              </p:nvSpPr>
              <p:spPr>
                <a:xfrm>
                  <a:off x="4633633" y="5872314"/>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00" name="Freeform: Shape 199">
                  <a:extLst>
                    <a:ext uri="{FF2B5EF4-FFF2-40B4-BE49-F238E27FC236}">
                      <a16:creationId xmlns:a16="http://schemas.microsoft.com/office/drawing/2014/main" id="{DAF81DD7-D370-4AE2-9B7B-277BB85C43D8}"/>
                    </a:ext>
                  </a:extLst>
                </p:cNvPr>
                <p:cNvSpPr/>
                <p:nvPr/>
              </p:nvSpPr>
              <p:spPr>
                <a:xfrm>
                  <a:off x="4719967" y="5933979"/>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01" name="Freeform: Shape 200">
                  <a:extLst>
                    <a:ext uri="{FF2B5EF4-FFF2-40B4-BE49-F238E27FC236}">
                      <a16:creationId xmlns:a16="http://schemas.microsoft.com/office/drawing/2014/main" id="{525231B4-34D7-402A-83B6-B592B0342626}"/>
                    </a:ext>
                  </a:extLst>
                </p:cNvPr>
                <p:cNvSpPr/>
                <p:nvPr/>
              </p:nvSpPr>
              <p:spPr>
                <a:xfrm>
                  <a:off x="4719967" y="5995650"/>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02" name="Freeform: Shape 201">
                  <a:extLst>
                    <a:ext uri="{FF2B5EF4-FFF2-40B4-BE49-F238E27FC236}">
                      <a16:creationId xmlns:a16="http://schemas.microsoft.com/office/drawing/2014/main" id="{7ACA3638-A69C-4C3D-8419-A161CB01D26C}"/>
                    </a:ext>
                  </a:extLst>
                </p:cNvPr>
                <p:cNvSpPr/>
                <p:nvPr/>
              </p:nvSpPr>
              <p:spPr>
                <a:xfrm>
                  <a:off x="4719967" y="6057315"/>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03" name="Freeform: Shape 202">
                  <a:extLst>
                    <a:ext uri="{FF2B5EF4-FFF2-40B4-BE49-F238E27FC236}">
                      <a16:creationId xmlns:a16="http://schemas.microsoft.com/office/drawing/2014/main" id="{FD2481A2-66C0-4829-87D6-1ABAE9D1B10E}"/>
                    </a:ext>
                  </a:extLst>
                </p:cNvPr>
                <p:cNvSpPr/>
                <p:nvPr/>
              </p:nvSpPr>
              <p:spPr>
                <a:xfrm>
                  <a:off x="4633633" y="6118980"/>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04" name="Freeform: Shape 203">
                  <a:extLst>
                    <a:ext uri="{FF2B5EF4-FFF2-40B4-BE49-F238E27FC236}">
                      <a16:creationId xmlns:a16="http://schemas.microsoft.com/office/drawing/2014/main" id="{F97DD2FA-3501-4840-B447-D1DE4D73239C}"/>
                    </a:ext>
                  </a:extLst>
                </p:cNvPr>
                <p:cNvSpPr/>
                <p:nvPr/>
              </p:nvSpPr>
              <p:spPr>
                <a:xfrm>
                  <a:off x="4719967" y="6180651"/>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05" name="Freeform: Shape 204">
                  <a:extLst>
                    <a:ext uri="{FF2B5EF4-FFF2-40B4-BE49-F238E27FC236}">
                      <a16:creationId xmlns:a16="http://schemas.microsoft.com/office/drawing/2014/main" id="{9298F5C4-0590-402F-B293-662925815DAC}"/>
                    </a:ext>
                  </a:extLst>
                </p:cNvPr>
                <p:cNvSpPr/>
                <p:nvPr/>
              </p:nvSpPr>
              <p:spPr>
                <a:xfrm>
                  <a:off x="4719967" y="6242316"/>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06" name="Freeform: Shape 205">
                  <a:extLst>
                    <a:ext uri="{FF2B5EF4-FFF2-40B4-BE49-F238E27FC236}">
                      <a16:creationId xmlns:a16="http://schemas.microsoft.com/office/drawing/2014/main" id="{4A259DF0-3F3A-4F25-AE66-8BF6908159C8}"/>
                    </a:ext>
                  </a:extLst>
                </p:cNvPr>
                <p:cNvSpPr/>
                <p:nvPr/>
              </p:nvSpPr>
              <p:spPr>
                <a:xfrm>
                  <a:off x="4719967" y="6303987"/>
                  <a:ext cx="111004" cy="12331"/>
                </a:xfrm>
                <a:custGeom>
                  <a:avLst/>
                  <a:gdLst>
                    <a:gd name="connsiteX0" fmla="*/ 0 w 111004"/>
                    <a:gd name="connsiteY0" fmla="*/ 0 h 12331"/>
                    <a:gd name="connsiteX1" fmla="*/ 111004 w 111004"/>
                    <a:gd name="connsiteY1" fmla="*/ 0 h 12331"/>
                    <a:gd name="connsiteX2" fmla="*/ 111004 w 111004"/>
                    <a:gd name="connsiteY2" fmla="*/ 12332 h 12331"/>
                    <a:gd name="connsiteX3" fmla="*/ 0 w 111004"/>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11004" h="12331">
                      <a:moveTo>
                        <a:pt x="0" y="0"/>
                      </a:moveTo>
                      <a:lnTo>
                        <a:pt x="111004" y="0"/>
                      </a:lnTo>
                      <a:lnTo>
                        <a:pt x="111004"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207" name="Freeform: Shape 206">
                  <a:extLst>
                    <a:ext uri="{FF2B5EF4-FFF2-40B4-BE49-F238E27FC236}">
                      <a16:creationId xmlns:a16="http://schemas.microsoft.com/office/drawing/2014/main" id="{BE421EBA-50B1-4698-B0C5-CA45B96163AB}"/>
                    </a:ext>
                  </a:extLst>
                </p:cNvPr>
                <p:cNvSpPr/>
                <p:nvPr/>
              </p:nvSpPr>
              <p:spPr>
                <a:xfrm>
                  <a:off x="4633633" y="6365684"/>
                  <a:ext cx="197345" cy="12331"/>
                </a:xfrm>
                <a:custGeom>
                  <a:avLst/>
                  <a:gdLst>
                    <a:gd name="connsiteX0" fmla="*/ 0 w 197345"/>
                    <a:gd name="connsiteY0" fmla="*/ 0 h 12331"/>
                    <a:gd name="connsiteX1" fmla="*/ 197345 w 197345"/>
                    <a:gd name="connsiteY1" fmla="*/ 0 h 12331"/>
                    <a:gd name="connsiteX2" fmla="*/ 197345 w 197345"/>
                    <a:gd name="connsiteY2" fmla="*/ 12332 h 12331"/>
                    <a:gd name="connsiteX3" fmla="*/ 0 w 197345"/>
                    <a:gd name="connsiteY3" fmla="*/ 12332 h 12331"/>
                  </a:gdLst>
                  <a:ahLst/>
                  <a:cxnLst>
                    <a:cxn ang="0">
                      <a:pos x="connsiteX0" y="connsiteY0"/>
                    </a:cxn>
                    <a:cxn ang="0">
                      <a:pos x="connsiteX1" y="connsiteY1"/>
                    </a:cxn>
                    <a:cxn ang="0">
                      <a:pos x="connsiteX2" y="connsiteY2"/>
                    </a:cxn>
                    <a:cxn ang="0">
                      <a:pos x="connsiteX3" y="connsiteY3"/>
                    </a:cxn>
                  </a:cxnLst>
                  <a:rect l="l" t="t" r="r" b="b"/>
                  <a:pathLst>
                    <a:path w="197345" h="12331">
                      <a:moveTo>
                        <a:pt x="0" y="0"/>
                      </a:moveTo>
                      <a:lnTo>
                        <a:pt x="197345" y="0"/>
                      </a:lnTo>
                      <a:lnTo>
                        <a:pt x="197345" y="12332"/>
                      </a:lnTo>
                      <a:lnTo>
                        <a:pt x="0" y="12332"/>
                      </a:lnTo>
                      <a:close/>
                    </a:path>
                  </a:pathLst>
                </a:custGeom>
                <a:solidFill>
                  <a:srgbClr val="F2F2F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grpSp>
          <p:nvGrpSpPr>
            <p:cNvPr id="115" name="Graphic 6" descr="A desktop with a ruler and various office supplies">
              <a:extLst>
                <a:ext uri="{FF2B5EF4-FFF2-40B4-BE49-F238E27FC236}">
                  <a16:creationId xmlns:a16="http://schemas.microsoft.com/office/drawing/2014/main" id="{06C7D4F1-5567-4E2D-A8BD-D107BBAE1AED}"/>
                </a:ext>
              </a:extLst>
            </p:cNvPr>
            <p:cNvGrpSpPr/>
            <p:nvPr/>
          </p:nvGrpSpPr>
          <p:grpSpPr>
            <a:xfrm>
              <a:off x="3424434" y="2522565"/>
              <a:ext cx="739036" cy="729282"/>
              <a:chOff x="3424434" y="2522565"/>
              <a:chExt cx="739036" cy="729282"/>
            </a:xfrm>
          </p:grpSpPr>
          <p:sp>
            <p:nvSpPr>
              <p:cNvPr id="160" name="Freeform: Shape 159">
                <a:extLst>
                  <a:ext uri="{FF2B5EF4-FFF2-40B4-BE49-F238E27FC236}">
                    <a16:creationId xmlns:a16="http://schemas.microsoft.com/office/drawing/2014/main" id="{AD8A204D-A8F6-46F6-BC93-85D624A7DA34}"/>
                  </a:ext>
                </a:extLst>
              </p:cNvPr>
              <p:cNvSpPr/>
              <p:nvPr/>
            </p:nvSpPr>
            <p:spPr>
              <a:xfrm>
                <a:off x="3424434" y="2522565"/>
                <a:ext cx="739036" cy="729282"/>
              </a:xfrm>
              <a:custGeom>
                <a:avLst/>
                <a:gdLst>
                  <a:gd name="connsiteX0" fmla="*/ 723449 w 739036"/>
                  <a:gd name="connsiteY0" fmla="*/ 314862 h 729282"/>
                  <a:gd name="connsiteX1" fmla="*/ 717359 w 739036"/>
                  <a:gd name="connsiteY1" fmla="*/ 217098 h 729282"/>
                  <a:gd name="connsiteX2" fmla="*/ 521938 w 739036"/>
                  <a:gd name="connsiteY2" fmla="*/ 21677 h 729282"/>
                  <a:gd name="connsiteX3" fmla="*/ 424174 w 739036"/>
                  <a:gd name="connsiteY3" fmla="*/ 15587 h 729282"/>
                  <a:gd name="connsiteX4" fmla="*/ 0 w 739036"/>
                  <a:gd name="connsiteY4" fmla="*/ 336719 h 729282"/>
                  <a:gd name="connsiteX5" fmla="*/ 142297 w 739036"/>
                  <a:gd name="connsiteY5" fmla="*/ 479016 h 729282"/>
                  <a:gd name="connsiteX6" fmla="*/ 142151 w 739036"/>
                  <a:gd name="connsiteY6" fmla="*/ 479150 h 729282"/>
                  <a:gd name="connsiteX7" fmla="*/ 142151 w 739036"/>
                  <a:gd name="connsiteY7" fmla="*/ 596891 h 729282"/>
                  <a:gd name="connsiteX8" fmla="*/ 259893 w 739036"/>
                  <a:gd name="connsiteY8" fmla="*/ 596891 h 729282"/>
                  <a:gd name="connsiteX9" fmla="*/ 260026 w 739036"/>
                  <a:gd name="connsiteY9" fmla="*/ 596745 h 729282"/>
                  <a:gd name="connsiteX10" fmla="*/ 392563 w 739036"/>
                  <a:gd name="connsiteY10" fmla="*/ 729282 h 729282"/>
                  <a:gd name="connsiteX11" fmla="*/ 723449 w 739036"/>
                  <a:gd name="connsiteY11" fmla="*/ 314862 h 72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9036" h="729282">
                    <a:moveTo>
                      <a:pt x="723449" y="314862"/>
                    </a:moveTo>
                    <a:cubicBezTo>
                      <a:pt x="746360" y="285398"/>
                      <a:pt x="743750" y="243482"/>
                      <a:pt x="717359" y="217098"/>
                    </a:cubicBezTo>
                    <a:lnTo>
                      <a:pt x="521938" y="21677"/>
                    </a:lnTo>
                    <a:cubicBezTo>
                      <a:pt x="495548" y="-4714"/>
                      <a:pt x="453637" y="-7324"/>
                      <a:pt x="424174" y="15587"/>
                    </a:cubicBezTo>
                    <a:lnTo>
                      <a:pt x="0" y="336719"/>
                    </a:lnTo>
                    <a:lnTo>
                      <a:pt x="142297" y="479016"/>
                    </a:lnTo>
                    <a:cubicBezTo>
                      <a:pt x="142253" y="479061"/>
                      <a:pt x="142202" y="479099"/>
                      <a:pt x="142151" y="479150"/>
                    </a:cubicBezTo>
                    <a:cubicBezTo>
                      <a:pt x="109639" y="511662"/>
                      <a:pt x="109639" y="564373"/>
                      <a:pt x="142151" y="596891"/>
                    </a:cubicBezTo>
                    <a:cubicBezTo>
                      <a:pt x="174663" y="629410"/>
                      <a:pt x="227375" y="629403"/>
                      <a:pt x="259893" y="596891"/>
                    </a:cubicBezTo>
                    <a:cubicBezTo>
                      <a:pt x="259943" y="596841"/>
                      <a:pt x="259982" y="596790"/>
                      <a:pt x="260026" y="596745"/>
                    </a:cubicBezTo>
                    <a:lnTo>
                      <a:pt x="392563" y="729282"/>
                    </a:lnTo>
                    <a:lnTo>
                      <a:pt x="723449" y="314862"/>
                    </a:lnTo>
                    <a:close/>
                  </a:path>
                </a:pathLst>
              </a:custGeom>
              <a:solidFill>
                <a:srgbClr val="D2D2D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61" name="Freeform: Shape 160">
                <a:extLst>
                  <a:ext uri="{FF2B5EF4-FFF2-40B4-BE49-F238E27FC236}">
                    <a16:creationId xmlns:a16="http://schemas.microsoft.com/office/drawing/2014/main" id="{965AABF2-C68A-484B-935A-B1D8C66C3EF2}"/>
                  </a:ext>
                </a:extLst>
              </p:cNvPr>
              <p:cNvSpPr/>
              <p:nvPr/>
            </p:nvSpPr>
            <p:spPr>
              <a:xfrm>
                <a:off x="3668680" y="2699043"/>
                <a:ext cx="314896" cy="314906"/>
              </a:xfrm>
              <a:custGeom>
                <a:avLst/>
                <a:gdLst>
                  <a:gd name="connsiteX0" fmla="*/ 13545 w 314896"/>
                  <a:gd name="connsiteY0" fmla="*/ 301357 h 314906"/>
                  <a:gd name="connsiteX1" fmla="*/ 13545 w 314896"/>
                  <a:gd name="connsiteY1" fmla="*/ 301357 h 314906"/>
                  <a:gd name="connsiteX2" fmla="*/ 13545 w 314896"/>
                  <a:gd name="connsiteY2" fmla="*/ 235945 h 314906"/>
                  <a:gd name="connsiteX3" fmla="*/ 235941 w 314896"/>
                  <a:gd name="connsiteY3" fmla="*/ 13549 h 314906"/>
                  <a:gd name="connsiteX4" fmla="*/ 301352 w 314896"/>
                  <a:gd name="connsiteY4" fmla="*/ 13549 h 314906"/>
                  <a:gd name="connsiteX5" fmla="*/ 301352 w 314896"/>
                  <a:gd name="connsiteY5" fmla="*/ 13549 h 314906"/>
                  <a:gd name="connsiteX6" fmla="*/ 301352 w 314896"/>
                  <a:gd name="connsiteY6" fmla="*/ 78961 h 314906"/>
                  <a:gd name="connsiteX7" fmla="*/ 78956 w 314896"/>
                  <a:gd name="connsiteY7" fmla="*/ 301357 h 314906"/>
                  <a:gd name="connsiteX8" fmla="*/ 13545 w 314896"/>
                  <a:gd name="connsiteY8" fmla="*/ 301357 h 31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896" h="314906">
                    <a:moveTo>
                      <a:pt x="13545" y="301357"/>
                    </a:moveTo>
                    <a:lnTo>
                      <a:pt x="13545" y="301357"/>
                    </a:lnTo>
                    <a:cubicBezTo>
                      <a:pt x="-4515" y="283291"/>
                      <a:pt x="-4515" y="254011"/>
                      <a:pt x="13545" y="235945"/>
                    </a:cubicBezTo>
                    <a:lnTo>
                      <a:pt x="235941" y="13549"/>
                    </a:lnTo>
                    <a:cubicBezTo>
                      <a:pt x="254000" y="-4516"/>
                      <a:pt x="283286" y="-4516"/>
                      <a:pt x="301352" y="13549"/>
                    </a:cubicBezTo>
                    <a:lnTo>
                      <a:pt x="301352" y="13549"/>
                    </a:lnTo>
                    <a:cubicBezTo>
                      <a:pt x="319412" y="31615"/>
                      <a:pt x="319412" y="60895"/>
                      <a:pt x="301352" y="78961"/>
                    </a:cubicBezTo>
                    <a:lnTo>
                      <a:pt x="78956" y="301357"/>
                    </a:lnTo>
                    <a:cubicBezTo>
                      <a:pt x="60897" y="319423"/>
                      <a:pt x="31610" y="319423"/>
                      <a:pt x="13545" y="301357"/>
                    </a:cubicBezTo>
                    <a:close/>
                  </a:path>
                </a:pathLst>
              </a:custGeom>
              <a:solidFill>
                <a:srgbClr val="E6E6E6"/>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16" name="Graphic 6" descr="A desktop with a ruler and various office supplies">
              <a:extLst>
                <a:ext uri="{FF2B5EF4-FFF2-40B4-BE49-F238E27FC236}">
                  <a16:creationId xmlns:a16="http://schemas.microsoft.com/office/drawing/2014/main" id="{27F3F0CD-E8E5-45CB-AB84-A04EA9EAD4FA}"/>
                </a:ext>
              </a:extLst>
            </p:cNvPr>
            <p:cNvGrpSpPr/>
            <p:nvPr/>
          </p:nvGrpSpPr>
          <p:grpSpPr>
            <a:xfrm>
              <a:off x="1984927" y="2667000"/>
              <a:ext cx="1269149" cy="1320393"/>
              <a:chOff x="1984927" y="2667000"/>
              <a:chExt cx="1269149" cy="1320393"/>
            </a:xfrm>
          </p:grpSpPr>
          <p:sp>
            <p:nvSpPr>
              <p:cNvPr id="155" name="Freeform: Shape 154">
                <a:extLst>
                  <a:ext uri="{FF2B5EF4-FFF2-40B4-BE49-F238E27FC236}">
                    <a16:creationId xmlns:a16="http://schemas.microsoft.com/office/drawing/2014/main" id="{970CC623-7C3B-401D-BD56-33F76FD57C26}"/>
                  </a:ext>
                </a:extLst>
              </p:cNvPr>
              <p:cNvSpPr/>
              <p:nvPr/>
            </p:nvSpPr>
            <p:spPr>
              <a:xfrm>
                <a:off x="3096767" y="2667000"/>
                <a:ext cx="157308" cy="198018"/>
              </a:xfrm>
              <a:custGeom>
                <a:avLst/>
                <a:gdLst>
                  <a:gd name="connsiteX0" fmla="*/ 157309 w 157308"/>
                  <a:gd name="connsiteY0" fmla="*/ 106121 h 198018"/>
                  <a:gd name="connsiteX1" fmla="*/ 132607 w 157308"/>
                  <a:gd name="connsiteY1" fmla="*/ 0 h 198018"/>
                  <a:gd name="connsiteX2" fmla="*/ 0 w 157308"/>
                  <a:gd name="connsiteY2" fmla="*/ 132607 h 198018"/>
                  <a:gd name="connsiteX3" fmla="*/ 65418 w 157308"/>
                  <a:gd name="connsiteY3" fmla="*/ 198018 h 198018"/>
                </a:gdLst>
                <a:ahLst/>
                <a:cxnLst>
                  <a:cxn ang="0">
                    <a:pos x="connsiteX0" y="connsiteY0"/>
                  </a:cxn>
                  <a:cxn ang="0">
                    <a:pos x="connsiteX1" y="connsiteY1"/>
                  </a:cxn>
                  <a:cxn ang="0">
                    <a:pos x="connsiteX2" y="connsiteY2"/>
                  </a:cxn>
                  <a:cxn ang="0">
                    <a:pos x="connsiteX3" y="connsiteY3"/>
                  </a:cxn>
                </a:cxnLst>
                <a:rect l="l" t="t" r="r" b="b"/>
                <a:pathLst>
                  <a:path w="157308" h="198018">
                    <a:moveTo>
                      <a:pt x="157309" y="106121"/>
                    </a:moveTo>
                    <a:lnTo>
                      <a:pt x="132607" y="0"/>
                    </a:lnTo>
                    <a:lnTo>
                      <a:pt x="0" y="132607"/>
                    </a:lnTo>
                    <a:lnTo>
                      <a:pt x="65418" y="198018"/>
                    </a:ln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56" name="Freeform: Shape 155">
                <a:extLst>
                  <a:ext uri="{FF2B5EF4-FFF2-40B4-BE49-F238E27FC236}">
                    <a16:creationId xmlns:a16="http://schemas.microsoft.com/office/drawing/2014/main" id="{C8AC84B5-E43A-41B1-81A4-A93D09880DBB}"/>
                  </a:ext>
                </a:extLst>
              </p:cNvPr>
              <p:cNvSpPr/>
              <p:nvPr/>
            </p:nvSpPr>
            <p:spPr>
              <a:xfrm>
                <a:off x="1984927" y="3786364"/>
                <a:ext cx="206336" cy="201029"/>
              </a:xfrm>
              <a:custGeom>
                <a:avLst/>
                <a:gdLst>
                  <a:gd name="connsiteX0" fmla="*/ 132163 w 206336"/>
                  <a:gd name="connsiteY0" fmla="*/ 69781 h 201029"/>
                  <a:gd name="connsiteX1" fmla="*/ 17558 w 206336"/>
                  <a:gd name="connsiteY1" fmla="*/ 45 h 201029"/>
                  <a:gd name="connsiteX2" fmla="*/ 17539 w 206336"/>
                  <a:gd name="connsiteY2" fmla="*/ 86736 h 201029"/>
                  <a:gd name="connsiteX3" fmla="*/ 113849 w 206336"/>
                  <a:gd name="connsiteY3" fmla="*/ 183046 h 201029"/>
                  <a:gd name="connsiteX4" fmla="*/ 200685 w 206336"/>
                  <a:gd name="connsiteY4" fmla="*/ 183046 h 201029"/>
                  <a:gd name="connsiteX5" fmla="*/ 206337 w 206336"/>
                  <a:gd name="connsiteY5" fmla="*/ 177394 h 201029"/>
                  <a:gd name="connsiteX6" fmla="*/ 132163 w 206336"/>
                  <a:gd name="connsiteY6" fmla="*/ 69781 h 201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36" h="201029">
                    <a:moveTo>
                      <a:pt x="132163" y="69781"/>
                    </a:moveTo>
                    <a:cubicBezTo>
                      <a:pt x="86443" y="27026"/>
                      <a:pt x="30937" y="-1288"/>
                      <a:pt x="17558" y="45"/>
                    </a:cubicBezTo>
                    <a:cubicBezTo>
                      <a:pt x="-5544" y="24086"/>
                      <a:pt x="-6153" y="63050"/>
                      <a:pt x="17539" y="86736"/>
                    </a:cubicBezTo>
                    <a:lnTo>
                      <a:pt x="113849" y="183046"/>
                    </a:lnTo>
                    <a:cubicBezTo>
                      <a:pt x="137833" y="207024"/>
                      <a:pt x="176708" y="207024"/>
                      <a:pt x="200685" y="183046"/>
                    </a:cubicBezTo>
                    <a:lnTo>
                      <a:pt x="206337" y="177394"/>
                    </a:lnTo>
                    <a:cubicBezTo>
                      <a:pt x="206337" y="177394"/>
                      <a:pt x="177883" y="112536"/>
                      <a:pt x="132163" y="69781"/>
                    </a:cubicBezTo>
                    <a:close/>
                  </a:path>
                </a:pathLst>
              </a:custGeom>
              <a:solidFill>
                <a:srgbClr val="737373"/>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57" name="Freeform: Shape 156">
                <a:extLst>
                  <a:ext uri="{FF2B5EF4-FFF2-40B4-BE49-F238E27FC236}">
                    <a16:creationId xmlns:a16="http://schemas.microsoft.com/office/drawing/2014/main" id="{517EF037-AF1E-4553-9EBA-58D30EA4AAA9}"/>
                  </a:ext>
                </a:extLst>
              </p:cNvPr>
              <p:cNvSpPr/>
              <p:nvPr/>
            </p:nvSpPr>
            <p:spPr>
              <a:xfrm>
                <a:off x="2685324" y="2733186"/>
                <a:ext cx="543275" cy="534066"/>
              </a:xfrm>
              <a:custGeom>
                <a:avLst/>
                <a:gdLst>
                  <a:gd name="connsiteX0" fmla="*/ 451702 w 543275"/>
                  <a:gd name="connsiteY0" fmla="*/ 0 h 534066"/>
                  <a:gd name="connsiteX1" fmla="*/ 405176 w 543275"/>
                  <a:gd name="connsiteY1" fmla="*/ 46514 h 534066"/>
                  <a:gd name="connsiteX2" fmla="*/ 391606 w 543275"/>
                  <a:gd name="connsiteY2" fmla="*/ 53791 h 534066"/>
                  <a:gd name="connsiteX3" fmla="*/ 58586 w 543275"/>
                  <a:gd name="connsiteY3" fmla="*/ 157645 h 534066"/>
                  <a:gd name="connsiteX4" fmla="*/ 18994 w 543275"/>
                  <a:gd name="connsiteY4" fmla="*/ 197237 h 534066"/>
                  <a:gd name="connsiteX5" fmla="*/ 71801 w 543275"/>
                  <a:gd name="connsiteY5" fmla="*/ 481146 h 534066"/>
                  <a:gd name="connsiteX6" fmla="*/ 346216 w 543275"/>
                  <a:gd name="connsiteY6" fmla="*/ 524084 h 534066"/>
                  <a:gd name="connsiteX7" fmla="*/ 385192 w 543275"/>
                  <a:gd name="connsiteY7" fmla="*/ 485108 h 534066"/>
                  <a:gd name="connsiteX8" fmla="*/ 385319 w 543275"/>
                  <a:gd name="connsiteY8" fmla="*/ 483629 h 534066"/>
                  <a:gd name="connsiteX9" fmla="*/ 489046 w 543275"/>
                  <a:gd name="connsiteY9" fmla="*/ 152584 h 534066"/>
                  <a:gd name="connsiteX10" fmla="*/ 496819 w 543275"/>
                  <a:gd name="connsiteY10" fmla="*/ 138030 h 534066"/>
                  <a:gd name="connsiteX11" fmla="*/ 543275 w 543275"/>
                  <a:gd name="connsiteY11" fmla="*/ 91573 h 534066"/>
                  <a:gd name="connsiteX12" fmla="*/ 451702 w 543275"/>
                  <a:gd name="connsiteY12" fmla="*/ 0 h 53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3275" h="534066">
                    <a:moveTo>
                      <a:pt x="451702" y="0"/>
                    </a:moveTo>
                    <a:lnTo>
                      <a:pt x="405176" y="46514"/>
                    </a:lnTo>
                    <a:lnTo>
                      <a:pt x="391606" y="53791"/>
                    </a:lnTo>
                    <a:cubicBezTo>
                      <a:pt x="288247" y="109417"/>
                      <a:pt x="175147" y="144691"/>
                      <a:pt x="58586" y="157645"/>
                    </a:cubicBezTo>
                    <a:lnTo>
                      <a:pt x="18994" y="197237"/>
                    </a:lnTo>
                    <a:cubicBezTo>
                      <a:pt x="18994" y="197237"/>
                      <a:pt x="-48811" y="360540"/>
                      <a:pt x="71801" y="481146"/>
                    </a:cubicBezTo>
                    <a:cubicBezTo>
                      <a:pt x="155659" y="565004"/>
                      <a:pt x="346216" y="524084"/>
                      <a:pt x="346216" y="524084"/>
                    </a:cubicBezTo>
                    <a:lnTo>
                      <a:pt x="385192" y="485108"/>
                    </a:lnTo>
                    <a:lnTo>
                      <a:pt x="385319" y="483629"/>
                    </a:lnTo>
                    <a:cubicBezTo>
                      <a:pt x="398514" y="367690"/>
                      <a:pt x="433668" y="255327"/>
                      <a:pt x="489046" y="152584"/>
                    </a:cubicBezTo>
                    <a:lnTo>
                      <a:pt x="496819" y="138030"/>
                    </a:lnTo>
                    <a:lnTo>
                      <a:pt x="543275" y="91573"/>
                    </a:lnTo>
                    <a:lnTo>
                      <a:pt x="451702" y="0"/>
                    </a:lnTo>
                    <a:close/>
                  </a:path>
                </a:pathLst>
              </a:custGeom>
              <a:solidFill>
                <a:srgbClr val="737373"/>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58" name="Freeform: Shape 157">
                <a:extLst>
                  <a:ext uri="{FF2B5EF4-FFF2-40B4-BE49-F238E27FC236}">
                    <a16:creationId xmlns:a16="http://schemas.microsoft.com/office/drawing/2014/main" id="{0B2AD500-BECF-4FF9-8F22-12EBAB4A9515}"/>
                  </a:ext>
                </a:extLst>
              </p:cNvPr>
              <p:cNvSpPr/>
              <p:nvPr/>
            </p:nvSpPr>
            <p:spPr>
              <a:xfrm>
                <a:off x="1988919" y="2897644"/>
                <a:ext cx="1075336" cy="1075242"/>
              </a:xfrm>
              <a:custGeom>
                <a:avLst/>
                <a:gdLst>
                  <a:gd name="connsiteX0" fmla="*/ 942723 w 1075336"/>
                  <a:gd name="connsiteY0" fmla="*/ 259893 h 1075242"/>
                  <a:gd name="connsiteX1" fmla="*/ 900229 w 1075336"/>
                  <a:gd name="connsiteY1" fmla="*/ 282492 h 1075242"/>
                  <a:gd name="connsiteX2" fmla="*/ 825197 w 1075336"/>
                  <a:gd name="connsiteY2" fmla="*/ 259696 h 1075242"/>
                  <a:gd name="connsiteX3" fmla="*/ 802382 w 1075336"/>
                  <a:gd name="connsiteY3" fmla="*/ 184734 h 1075242"/>
                  <a:gd name="connsiteX4" fmla="*/ 824950 w 1075336"/>
                  <a:gd name="connsiteY4" fmla="*/ 142234 h 1075242"/>
                  <a:gd name="connsiteX5" fmla="*/ 682570 w 1075336"/>
                  <a:gd name="connsiteY5" fmla="*/ 0 h 1075242"/>
                  <a:gd name="connsiteX6" fmla="*/ 33282 w 1075336"/>
                  <a:gd name="connsiteY6" fmla="*/ 742239 h 1075242"/>
                  <a:gd name="connsiteX7" fmla="*/ 14886 w 1075336"/>
                  <a:gd name="connsiteY7" fmla="*/ 892531 h 1075242"/>
                  <a:gd name="connsiteX8" fmla="*/ 39423 w 1075336"/>
                  <a:gd name="connsiteY8" fmla="*/ 926332 h 1075242"/>
                  <a:gd name="connsiteX9" fmla="*/ 148878 w 1075336"/>
                  <a:gd name="connsiteY9" fmla="*/ 1035780 h 1075242"/>
                  <a:gd name="connsiteX10" fmla="*/ 190489 w 1075336"/>
                  <a:gd name="connsiteY10" fmla="*/ 1064089 h 1075242"/>
                  <a:gd name="connsiteX11" fmla="*/ 332990 w 1075336"/>
                  <a:gd name="connsiteY11" fmla="*/ 1041915 h 1075242"/>
                  <a:gd name="connsiteX12" fmla="*/ 1075336 w 1075336"/>
                  <a:gd name="connsiteY12" fmla="*/ 392373 h 1075242"/>
                  <a:gd name="connsiteX13" fmla="*/ 942723 w 1075336"/>
                  <a:gd name="connsiteY13" fmla="*/ 259893 h 107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5336" h="1075242">
                    <a:moveTo>
                      <a:pt x="942723" y="259893"/>
                    </a:moveTo>
                    <a:cubicBezTo>
                      <a:pt x="930633" y="271894"/>
                      <a:pt x="915786" y="279432"/>
                      <a:pt x="900229" y="282492"/>
                    </a:cubicBezTo>
                    <a:cubicBezTo>
                      <a:pt x="873914" y="287674"/>
                      <a:pt x="845587" y="280086"/>
                      <a:pt x="825197" y="259696"/>
                    </a:cubicBezTo>
                    <a:cubicBezTo>
                      <a:pt x="804826" y="239325"/>
                      <a:pt x="797232" y="211023"/>
                      <a:pt x="802382" y="184734"/>
                    </a:cubicBezTo>
                    <a:cubicBezTo>
                      <a:pt x="805436" y="169177"/>
                      <a:pt x="812954" y="154331"/>
                      <a:pt x="824950" y="142234"/>
                    </a:cubicBezTo>
                    <a:lnTo>
                      <a:pt x="682570" y="0"/>
                    </a:lnTo>
                    <a:lnTo>
                      <a:pt x="33282" y="742239"/>
                    </a:lnTo>
                    <a:cubicBezTo>
                      <a:pt x="-3979" y="784828"/>
                      <a:pt x="-9720" y="844601"/>
                      <a:pt x="14886" y="892531"/>
                    </a:cubicBezTo>
                    <a:cubicBezTo>
                      <a:pt x="21135" y="904710"/>
                      <a:pt x="29256" y="916165"/>
                      <a:pt x="39423" y="926332"/>
                    </a:cubicBezTo>
                    <a:lnTo>
                      <a:pt x="148878" y="1035780"/>
                    </a:lnTo>
                    <a:cubicBezTo>
                      <a:pt x="161197" y="1048099"/>
                      <a:pt x="175357" y="1057523"/>
                      <a:pt x="190489" y="1064089"/>
                    </a:cubicBezTo>
                    <a:cubicBezTo>
                      <a:pt x="236978" y="1084269"/>
                      <a:pt x="292686" y="1077176"/>
                      <a:pt x="332990" y="1041915"/>
                    </a:cubicBezTo>
                    <a:lnTo>
                      <a:pt x="1075336" y="392373"/>
                    </a:lnTo>
                    <a:lnTo>
                      <a:pt x="942723" y="259893"/>
                    </a:ln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59" name="Freeform: Shape 158">
                <a:extLst>
                  <a:ext uri="{FF2B5EF4-FFF2-40B4-BE49-F238E27FC236}">
                    <a16:creationId xmlns:a16="http://schemas.microsoft.com/office/drawing/2014/main" id="{E05B714C-DCD2-4331-A5D1-848348221434}"/>
                  </a:ext>
                </a:extLst>
              </p:cNvPr>
              <p:cNvSpPr/>
              <p:nvPr/>
            </p:nvSpPr>
            <p:spPr>
              <a:xfrm>
                <a:off x="2193950" y="3230537"/>
                <a:ext cx="537298" cy="537303"/>
              </a:xfrm>
              <a:custGeom>
                <a:avLst/>
                <a:gdLst>
                  <a:gd name="connsiteX0" fmla="*/ 458343 w 537298"/>
                  <a:gd name="connsiteY0" fmla="*/ 13545 h 537303"/>
                  <a:gd name="connsiteX1" fmla="*/ 13545 w 537298"/>
                  <a:gd name="connsiteY1" fmla="*/ 458343 h 537303"/>
                  <a:gd name="connsiteX2" fmla="*/ 13545 w 537298"/>
                  <a:gd name="connsiteY2" fmla="*/ 523754 h 537303"/>
                  <a:gd name="connsiteX3" fmla="*/ 78956 w 537298"/>
                  <a:gd name="connsiteY3" fmla="*/ 523754 h 537303"/>
                  <a:gd name="connsiteX4" fmla="*/ 523754 w 537298"/>
                  <a:gd name="connsiteY4" fmla="*/ 78956 h 537303"/>
                  <a:gd name="connsiteX5" fmla="*/ 523754 w 537298"/>
                  <a:gd name="connsiteY5" fmla="*/ 13545 h 537303"/>
                  <a:gd name="connsiteX6" fmla="*/ 458343 w 537298"/>
                  <a:gd name="connsiteY6" fmla="*/ 13545 h 53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298" h="537303">
                    <a:moveTo>
                      <a:pt x="458343" y="13545"/>
                    </a:moveTo>
                    <a:lnTo>
                      <a:pt x="13545" y="458343"/>
                    </a:lnTo>
                    <a:cubicBezTo>
                      <a:pt x="-4515" y="476409"/>
                      <a:pt x="-4515" y="505689"/>
                      <a:pt x="13545" y="523754"/>
                    </a:cubicBezTo>
                    <a:cubicBezTo>
                      <a:pt x="31604" y="541820"/>
                      <a:pt x="60890" y="541820"/>
                      <a:pt x="78956" y="523754"/>
                    </a:cubicBezTo>
                    <a:lnTo>
                      <a:pt x="523754" y="78956"/>
                    </a:lnTo>
                    <a:cubicBezTo>
                      <a:pt x="541814" y="60890"/>
                      <a:pt x="541814" y="31610"/>
                      <a:pt x="523754" y="13545"/>
                    </a:cubicBezTo>
                    <a:cubicBezTo>
                      <a:pt x="505695" y="-4515"/>
                      <a:pt x="476409" y="-4515"/>
                      <a:pt x="458343" y="13545"/>
                    </a:cubicBezTo>
                    <a:close/>
                  </a:path>
                </a:pathLst>
              </a:custGeom>
              <a:solidFill>
                <a:srgbClr val="FFFFFF"/>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17" name="Graphic 6" descr="A desktop with a ruler and various office supplies">
              <a:extLst>
                <a:ext uri="{FF2B5EF4-FFF2-40B4-BE49-F238E27FC236}">
                  <a16:creationId xmlns:a16="http://schemas.microsoft.com/office/drawing/2014/main" id="{0274B628-DC9F-477A-848A-2EE861E7960A}"/>
                </a:ext>
              </a:extLst>
            </p:cNvPr>
            <p:cNvGrpSpPr/>
            <p:nvPr/>
          </p:nvGrpSpPr>
          <p:grpSpPr>
            <a:xfrm>
              <a:off x="3615797" y="1605527"/>
              <a:ext cx="2151412" cy="2151311"/>
              <a:chOff x="3615797" y="1605527"/>
              <a:chExt cx="2151412" cy="2151311"/>
            </a:xfrm>
          </p:grpSpPr>
          <p:sp>
            <p:nvSpPr>
              <p:cNvPr id="150" name="Freeform: Shape 149">
                <a:extLst>
                  <a:ext uri="{FF2B5EF4-FFF2-40B4-BE49-F238E27FC236}">
                    <a16:creationId xmlns:a16="http://schemas.microsoft.com/office/drawing/2014/main" id="{D633F48D-9240-4084-9926-EBE7F088374D}"/>
                  </a:ext>
                </a:extLst>
              </p:cNvPr>
              <p:cNvSpPr/>
              <p:nvPr/>
            </p:nvSpPr>
            <p:spPr>
              <a:xfrm rot="-2700000">
                <a:off x="3628881" y="3567343"/>
                <a:ext cx="223314" cy="129507"/>
              </a:xfrm>
              <a:custGeom>
                <a:avLst/>
                <a:gdLst>
                  <a:gd name="connsiteX0" fmla="*/ 0 w 223314"/>
                  <a:gd name="connsiteY0" fmla="*/ 0 h 129507"/>
                  <a:gd name="connsiteX1" fmla="*/ 223315 w 223314"/>
                  <a:gd name="connsiteY1" fmla="*/ 0 h 129507"/>
                  <a:gd name="connsiteX2" fmla="*/ 223315 w 223314"/>
                  <a:gd name="connsiteY2" fmla="*/ 129507 h 129507"/>
                  <a:gd name="connsiteX3" fmla="*/ 0 w 223314"/>
                  <a:gd name="connsiteY3" fmla="*/ 129507 h 129507"/>
                </a:gdLst>
                <a:ahLst/>
                <a:cxnLst>
                  <a:cxn ang="0">
                    <a:pos x="connsiteX0" y="connsiteY0"/>
                  </a:cxn>
                  <a:cxn ang="0">
                    <a:pos x="connsiteX1" y="connsiteY1"/>
                  </a:cxn>
                  <a:cxn ang="0">
                    <a:pos x="connsiteX2" y="connsiteY2"/>
                  </a:cxn>
                  <a:cxn ang="0">
                    <a:pos x="connsiteX3" y="connsiteY3"/>
                  </a:cxn>
                </a:cxnLst>
                <a:rect l="l" t="t" r="r" b="b"/>
                <a:pathLst>
                  <a:path w="223314" h="129507">
                    <a:moveTo>
                      <a:pt x="0" y="0"/>
                    </a:moveTo>
                    <a:lnTo>
                      <a:pt x="223315" y="0"/>
                    </a:lnTo>
                    <a:lnTo>
                      <a:pt x="223315" y="129507"/>
                    </a:lnTo>
                    <a:lnTo>
                      <a:pt x="0" y="129507"/>
                    </a:ln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51" name="Freeform: Shape 150">
                <a:extLst>
                  <a:ext uri="{FF2B5EF4-FFF2-40B4-BE49-F238E27FC236}">
                    <a16:creationId xmlns:a16="http://schemas.microsoft.com/office/drawing/2014/main" id="{5EB4E304-99B4-4FF9-BDD8-0F689EAC401B}"/>
                  </a:ext>
                </a:extLst>
              </p:cNvPr>
              <p:cNvSpPr/>
              <p:nvPr/>
            </p:nvSpPr>
            <p:spPr>
              <a:xfrm>
                <a:off x="3726243" y="3339547"/>
                <a:ext cx="306974" cy="306945"/>
              </a:xfrm>
              <a:custGeom>
                <a:avLst/>
                <a:gdLst>
                  <a:gd name="connsiteX0" fmla="*/ 117735 w 306974"/>
                  <a:gd name="connsiteY0" fmla="*/ 306946 h 306945"/>
                  <a:gd name="connsiteX1" fmla="*/ 0 w 306974"/>
                  <a:gd name="connsiteY1" fmla="*/ 189211 h 306945"/>
                  <a:gd name="connsiteX2" fmla="*/ 189211 w 306974"/>
                  <a:gd name="connsiteY2" fmla="*/ 0 h 306945"/>
                  <a:gd name="connsiteX3" fmla="*/ 274682 w 306974"/>
                  <a:gd name="connsiteY3" fmla="*/ 34849 h 306945"/>
                  <a:gd name="connsiteX4" fmla="*/ 306953 w 306974"/>
                  <a:gd name="connsiteY4" fmla="*/ 117742 h 306945"/>
                  <a:gd name="connsiteX5" fmla="*/ 117735 w 306974"/>
                  <a:gd name="connsiteY5" fmla="*/ 306946 h 30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974" h="306945">
                    <a:moveTo>
                      <a:pt x="117735" y="306946"/>
                    </a:moveTo>
                    <a:lnTo>
                      <a:pt x="0" y="189211"/>
                    </a:lnTo>
                    <a:lnTo>
                      <a:pt x="189211" y="0"/>
                    </a:lnTo>
                    <a:cubicBezTo>
                      <a:pt x="189211" y="0"/>
                      <a:pt x="240392" y="558"/>
                      <a:pt x="274682" y="34849"/>
                    </a:cubicBezTo>
                    <a:cubicBezTo>
                      <a:pt x="308972" y="69139"/>
                      <a:pt x="306953" y="117742"/>
                      <a:pt x="306953" y="117742"/>
                    </a:cubicBezTo>
                    <a:lnTo>
                      <a:pt x="117735" y="306946"/>
                    </a:lnTo>
                    <a:close/>
                  </a:path>
                </a:pathLst>
              </a:custGeom>
              <a:solidFill>
                <a:srgbClr val="E6E6E6"/>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52" name="Freeform: Shape 151">
                <a:extLst>
                  <a:ext uri="{FF2B5EF4-FFF2-40B4-BE49-F238E27FC236}">
                    <a16:creationId xmlns:a16="http://schemas.microsoft.com/office/drawing/2014/main" id="{8FCA0065-402F-4002-84F4-14F90CB1979B}"/>
                  </a:ext>
                </a:extLst>
              </p:cNvPr>
              <p:cNvSpPr/>
              <p:nvPr/>
            </p:nvSpPr>
            <p:spPr>
              <a:xfrm>
                <a:off x="3916216" y="1756016"/>
                <a:ext cx="1700504" cy="1700504"/>
              </a:xfrm>
              <a:custGeom>
                <a:avLst/>
                <a:gdLst>
                  <a:gd name="connsiteX0" fmla="*/ 117742 w 1700504"/>
                  <a:gd name="connsiteY0" fmla="*/ 1700505 h 1700504"/>
                  <a:gd name="connsiteX1" fmla="*/ 0 w 1700504"/>
                  <a:gd name="connsiteY1" fmla="*/ 1582763 h 1700504"/>
                  <a:gd name="connsiteX2" fmla="*/ 1582763 w 1700504"/>
                  <a:gd name="connsiteY2" fmla="*/ 0 h 1700504"/>
                  <a:gd name="connsiteX3" fmla="*/ 1582852 w 1700504"/>
                  <a:gd name="connsiteY3" fmla="*/ 0 h 1700504"/>
                  <a:gd name="connsiteX4" fmla="*/ 1700505 w 1700504"/>
                  <a:gd name="connsiteY4" fmla="*/ 117653 h 1700504"/>
                  <a:gd name="connsiteX5" fmla="*/ 1700505 w 1700504"/>
                  <a:gd name="connsiteY5" fmla="*/ 117742 h 1700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0504" h="1700504">
                    <a:moveTo>
                      <a:pt x="117742" y="1700505"/>
                    </a:moveTo>
                    <a:lnTo>
                      <a:pt x="0" y="1582763"/>
                    </a:lnTo>
                    <a:lnTo>
                      <a:pt x="1582763" y="0"/>
                    </a:lnTo>
                    <a:lnTo>
                      <a:pt x="1582852" y="0"/>
                    </a:lnTo>
                    <a:lnTo>
                      <a:pt x="1700505" y="117653"/>
                    </a:lnTo>
                    <a:lnTo>
                      <a:pt x="1700505" y="117742"/>
                    </a:lnTo>
                    <a:close/>
                  </a:path>
                </a:pathLst>
              </a:custGeom>
              <a:solidFill>
                <a:srgbClr val="D2D2D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53" name="Freeform: Shape 152">
                <a:extLst>
                  <a:ext uri="{FF2B5EF4-FFF2-40B4-BE49-F238E27FC236}">
                    <a16:creationId xmlns:a16="http://schemas.microsoft.com/office/drawing/2014/main" id="{98B175C6-29EA-4906-953F-280E48389A06}"/>
                  </a:ext>
                </a:extLst>
              </p:cNvPr>
              <p:cNvSpPr/>
              <p:nvPr/>
            </p:nvSpPr>
            <p:spPr>
              <a:xfrm>
                <a:off x="5486825" y="1642121"/>
                <a:ext cx="242126" cy="243783"/>
              </a:xfrm>
              <a:custGeom>
                <a:avLst/>
                <a:gdLst>
                  <a:gd name="connsiteX0" fmla="*/ 204946 w 242126"/>
                  <a:gd name="connsiteY0" fmla="*/ 5722 h 243783"/>
                  <a:gd name="connsiteX1" fmla="*/ 12192 w 242126"/>
                  <a:gd name="connsiteY1" fmla="*/ 113850 h 243783"/>
                  <a:gd name="connsiteX2" fmla="*/ 12192 w 242126"/>
                  <a:gd name="connsiteY2" fmla="*/ 172721 h 243783"/>
                  <a:gd name="connsiteX3" fmla="*/ 70155 w 242126"/>
                  <a:gd name="connsiteY3" fmla="*/ 173604 h 243783"/>
                  <a:gd name="connsiteX4" fmla="*/ 70180 w 242126"/>
                  <a:gd name="connsiteY4" fmla="*/ 173629 h 243783"/>
                  <a:gd name="connsiteX5" fmla="*/ 71063 w 242126"/>
                  <a:gd name="connsiteY5" fmla="*/ 231592 h 243783"/>
                  <a:gd name="connsiteX6" fmla="*/ 129927 w 242126"/>
                  <a:gd name="connsiteY6" fmla="*/ 231592 h 243783"/>
                  <a:gd name="connsiteX7" fmla="*/ 238055 w 242126"/>
                  <a:gd name="connsiteY7" fmla="*/ 38844 h 243783"/>
                  <a:gd name="connsiteX8" fmla="*/ 238062 w 242126"/>
                  <a:gd name="connsiteY8" fmla="*/ 38818 h 243783"/>
                  <a:gd name="connsiteX9" fmla="*/ 242126 w 242126"/>
                  <a:gd name="connsiteY9" fmla="*/ 71 h 243783"/>
                  <a:gd name="connsiteX10" fmla="*/ 242055 w 242126"/>
                  <a:gd name="connsiteY10" fmla="*/ 1 h 243783"/>
                  <a:gd name="connsiteX11" fmla="*/ 204959 w 242126"/>
                  <a:gd name="connsiteY11" fmla="*/ 5716 h 243783"/>
                  <a:gd name="connsiteX12" fmla="*/ 204946 w 242126"/>
                  <a:gd name="connsiteY12" fmla="*/ 5722 h 24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6" h="243783">
                    <a:moveTo>
                      <a:pt x="204946" y="5722"/>
                    </a:moveTo>
                    <a:lnTo>
                      <a:pt x="12192" y="113850"/>
                    </a:lnTo>
                    <a:cubicBezTo>
                      <a:pt x="-4064" y="130106"/>
                      <a:pt x="-4064" y="156465"/>
                      <a:pt x="12192" y="172721"/>
                    </a:cubicBezTo>
                    <a:cubicBezTo>
                      <a:pt x="28150" y="188678"/>
                      <a:pt x="53835" y="188970"/>
                      <a:pt x="70155" y="173604"/>
                    </a:cubicBezTo>
                    <a:cubicBezTo>
                      <a:pt x="70212" y="173546"/>
                      <a:pt x="70237" y="173572"/>
                      <a:pt x="70180" y="173629"/>
                    </a:cubicBezTo>
                    <a:cubicBezTo>
                      <a:pt x="54807" y="189942"/>
                      <a:pt x="55105" y="215634"/>
                      <a:pt x="71063" y="231592"/>
                    </a:cubicBezTo>
                    <a:cubicBezTo>
                      <a:pt x="87319" y="247848"/>
                      <a:pt x="113671" y="247848"/>
                      <a:pt x="129927" y="231592"/>
                    </a:cubicBezTo>
                    <a:lnTo>
                      <a:pt x="238055" y="38844"/>
                    </a:lnTo>
                    <a:cubicBezTo>
                      <a:pt x="238062" y="38837"/>
                      <a:pt x="238062" y="38825"/>
                      <a:pt x="238062" y="38818"/>
                    </a:cubicBezTo>
                    <a:lnTo>
                      <a:pt x="242126" y="71"/>
                    </a:lnTo>
                    <a:cubicBezTo>
                      <a:pt x="242132" y="26"/>
                      <a:pt x="242094" y="-5"/>
                      <a:pt x="242055" y="1"/>
                    </a:cubicBezTo>
                    <a:lnTo>
                      <a:pt x="204959" y="5716"/>
                    </a:lnTo>
                    <a:cubicBezTo>
                      <a:pt x="204959" y="5716"/>
                      <a:pt x="204953" y="5722"/>
                      <a:pt x="204946" y="5722"/>
                    </a:cubicBezTo>
                    <a:close/>
                  </a:path>
                </a:pathLst>
              </a:custGeom>
              <a:solidFill>
                <a:srgbClr val="FFFFFF"/>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54" name="Freeform: Shape 153">
                <a:extLst>
                  <a:ext uri="{FF2B5EF4-FFF2-40B4-BE49-F238E27FC236}">
                    <a16:creationId xmlns:a16="http://schemas.microsoft.com/office/drawing/2014/main" id="{7793EF5A-06BD-44C7-914D-44E10685818F}"/>
                  </a:ext>
                </a:extLst>
              </p:cNvPr>
              <p:cNvSpPr/>
              <p:nvPr/>
            </p:nvSpPr>
            <p:spPr>
              <a:xfrm>
                <a:off x="5691821" y="1605527"/>
                <a:ext cx="75388" cy="75388"/>
              </a:xfrm>
              <a:custGeom>
                <a:avLst/>
                <a:gdLst>
                  <a:gd name="connsiteX0" fmla="*/ 75388 w 75388"/>
                  <a:gd name="connsiteY0" fmla="*/ 0 h 75388"/>
                  <a:gd name="connsiteX1" fmla="*/ 33 w 75388"/>
                  <a:gd name="connsiteY1" fmla="*/ 42272 h 75388"/>
                  <a:gd name="connsiteX2" fmla="*/ 20 w 75388"/>
                  <a:gd name="connsiteY2" fmla="*/ 42373 h 75388"/>
                  <a:gd name="connsiteX3" fmla="*/ 33015 w 75388"/>
                  <a:gd name="connsiteY3" fmla="*/ 75368 h 75388"/>
                  <a:gd name="connsiteX4" fmla="*/ 33116 w 75388"/>
                  <a:gd name="connsiteY4" fmla="*/ 75355 h 75388"/>
                  <a:gd name="connsiteX5" fmla="*/ 75388 w 75388"/>
                  <a:gd name="connsiteY5" fmla="*/ 0 h 75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88" h="75388">
                    <a:moveTo>
                      <a:pt x="75388" y="0"/>
                    </a:moveTo>
                    <a:lnTo>
                      <a:pt x="33" y="42272"/>
                    </a:lnTo>
                    <a:cubicBezTo>
                      <a:pt x="-5" y="42291"/>
                      <a:pt x="-11" y="42342"/>
                      <a:pt x="20" y="42373"/>
                    </a:cubicBezTo>
                    <a:lnTo>
                      <a:pt x="33015" y="75368"/>
                    </a:lnTo>
                    <a:cubicBezTo>
                      <a:pt x="33047" y="75400"/>
                      <a:pt x="33097" y="75394"/>
                      <a:pt x="33116" y="75355"/>
                    </a:cubicBezTo>
                    <a:lnTo>
                      <a:pt x="75388" y="0"/>
                    </a:lnTo>
                    <a:close/>
                  </a:path>
                </a:pathLst>
              </a:custGeom>
              <a:solidFill>
                <a:srgbClr val="737373"/>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18" name="Graphic 6" descr="A desktop with a ruler and various office supplies">
              <a:extLst>
                <a:ext uri="{FF2B5EF4-FFF2-40B4-BE49-F238E27FC236}">
                  <a16:creationId xmlns:a16="http://schemas.microsoft.com/office/drawing/2014/main" id="{180CF7A4-8D82-48F5-8F25-2D1A4897819B}"/>
                </a:ext>
              </a:extLst>
            </p:cNvPr>
            <p:cNvGrpSpPr/>
            <p:nvPr/>
          </p:nvGrpSpPr>
          <p:grpSpPr>
            <a:xfrm>
              <a:off x="3818570" y="1808302"/>
              <a:ext cx="2151432" cy="2151308"/>
              <a:chOff x="3818570" y="1808302"/>
              <a:chExt cx="2151432" cy="2151308"/>
            </a:xfrm>
          </p:grpSpPr>
          <p:sp>
            <p:nvSpPr>
              <p:cNvPr id="145" name="Freeform: Shape 144">
                <a:extLst>
                  <a:ext uri="{FF2B5EF4-FFF2-40B4-BE49-F238E27FC236}">
                    <a16:creationId xmlns:a16="http://schemas.microsoft.com/office/drawing/2014/main" id="{6058FD32-D85B-497B-925A-02CEFB54A2E0}"/>
                  </a:ext>
                </a:extLst>
              </p:cNvPr>
              <p:cNvSpPr/>
              <p:nvPr/>
            </p:nvSpPr>
            <p:spPr>
              <a:xfrm rot="-2700000">
                <a:off x="3829024" y="3763767"/>
                <a:ext cx="241272" cy="129507"/>
              </a:xfrm>
              <a:custGeom>
                <a:avLst/>
                <a:gdLst>
                  <a:gd name="connsiteX0" fmla="*/ 0 w 241272"/>
                  <a:gd name="connsiteY0" fmla="*/ 0 h 129507"/>
                  <a:gd name="connsiteX1" fmla="*/ 241272 w 241272"/>
                  <a:gd name="connsiteY1" fmla="*/ 0 h 129507"/>
                  <a:gd name="connsiteX2" fmla="*/ 241272 w 241272"/>
                  <a:gd name="connsiteY2" fmla="*/ 129507 h 129507"/>
                  <a:gd name="connsiteX3" fmla="*/ 0 w 241272"/>
                  <a:gd name="connsiteY3" fmla="*/ 129507 h 129507"/>
                </a:gdLst>
                <a:ahLst/>
                <a:cxnLst>
                  <a:cxn ang="0">
                    <a:pos x="connsiteX0" y="connsiteY0"/>
                  </a:cxn>
                  <a:cxn ang="0">
                    <a:pos x="connsiteX1" y="connsiteY1"/>
                  </a:cxn>
                  <a:cxn ang="0">
                    <a:pos x="connsiteX2" y="connsiteY2"/>
                  </a:cxn>
                  <a:cxn ang="0">
                    <a:pos x="connsiteX3" y="connsiteY3"/>
                  </a:cxn>
                </a:cxnLst>
                <a:rect l="l" t="t" r="r" b="b"/>
                <a:pathLst>
                  <a:path w="241272" h="129507">
                    <a:moveTo>
                      <a:pt x="0" y="0"/>
                    </a:moveTo>
                    <a:lnTo>
                      <a:pt x="241272" y="0"/>
                    </a:lnTo>
                    <a:lnTo>
                      <a:pt x="241272" y="129507"/>
                    </a:lnTo>
                    <a:lnTo>
                      <a:pt x="0" y="129507"/>
                    </a:ln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46" name="Freeform: Shape 145">
                <a:extLst>
                  <a:ext uri="{FF2B5EF4-FFF2-40B4-BE49-F238E27FC236}">
                    <a16:creationId xmlns:a16="http://schemas.microsoft.com/office/drawing/2014/main" id="{19A6BCF8-D9AE-4B50-9DCD-3A7B383329B2}"/>
                  </a:ext>
                </a:extLst>
              </p:cNvPr>
              <p:cNvSpPr/>
              <p:nvPr/>
            </p:nvSpPr>
            <p:spPr>
              <a:xfrm>
                <a:off x="3929011" y="3542315"/>
                <a:ext cx="307005" cy="306953"/>
              </a:xfrm>
              <a:custGeom>
                <a:avLst/>
                <a:gdLst>
                  <a:gd name="connsiteX0" fmla="*/ 117742 w 307005"/>
                  <a:gd name="connsiteY0" fmla="*/ 306953 h 306953"/>
                  <a:gd name="connsiteX1" fmla="*/ 0 w 307005"/>
                  <a:gd name="connsiteY1" fmla="*/ 189211 h 306953"/>
                  <a:gd name="connsiteX2" fmla="*/ 189211 w 307005"/>
                  <a:gd name="connsiteY2" fmla="*/ 0 h 306953"/>
                  <a:gd name="connsiteX3" fmla="*/ 273412 w 307005"/>
                  <a:gd name="connsiteY3" fmla="*/ 36119 h 306953"/>
                  <a:gd name="connsiteX4" fmla="*/ 306953 w 307005"/>
                  <a:gd name="connsiteY4" fmla="*/ 117742 h 306953"/>
                  <a:gd name="connsiteX5" fmla="*/ 117742 w 307005"/>
                  <a:gd name="connsiteY5" fmla="*/ 306953 h 30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005" h="306953">
                    <a:moveTo>
                      <a:pt x="117742" y="306953"/>
                    </a:moveTo>
                    <a:lnTo>
                      <a:pt x="0" y="189211"/>
                    </a:lnTo>
                    <a:lnTo>
                      <a:pt x="189211" y="0"/>
                    </a:lnTo>
                    <a:cubicBezTo>
                      <a:pt x="189211" y="0"/>
                      <a:pt x="237007" y="-286"/>
                      <a:pt x="273412" y="36119"/>
                    </a:cubicBezTo>
                    <a:cubicBezTo>
                      <a:pt x="309816" y="72524"/>
                      <a:pt x="306953" y="117742"/>
                      <a:pt x="306953" y="117742"/>
                    </a:cubicBezTo>
                    <a:lnTo>
                      <a:pt x="117742" y="306953"/>
                    </a:lnTo>
                    <a:close/>
                  </a:path>
                </a:pathLst>
              </a:custGeom>
              <a:solidFill>
                <a:srgbClr val="737373"/>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47" name="Freeform: Shape 146">
                <a:extLst>
                  <a:ext uri="{FF2B5EF4-FFF2-40B4-BE49-F238E27FC236}">
                    <a16:creationId xmlns:a16="http://schemas.microsoft.com/office/drawing/2014/main" id="{2C248ADB-8E57-4986-ABE0-1906E53A8C55}"/>
                  </a:ext>
                </a:extLst>
              </p:cNvPr>
              <p:cNvSpPr/>
              <p:nvPr/>
            </p:nvSpPr>
            <p:spPr>
              <a:xfrm>
                <a:off x="4118990" y="1958790"/>
                <a:ext cx="1700504" cy="1700504"/>
              </a:xfrm>
              <a:custGeom>
                <a:avLst/>
                <a:gdLst>
                  <a:gd name="connsiteX0" fmla="*/ 117742 w 1700504"/>
                  <a:gd name="connsiteY0" fmla="*/ 1700505 h 1700504"/>
                  <a:gd name="connsiteX1" fmla="*/ 0 w 1700504"/>
                  <a:gd name="connsiteY1" fmla="*/ 1582763 h 1700504"/>
                  <a:gd name="connsiteX2" fmla="*/ 1582763 w 1700504"/>
                  <a:gd name="connsiteY2" fmla="*/ 0 h 1700504"/>
                  <a:gd name="connsiteX3" fmla="*/ 1582852 w 1700504"/>
                  <a:gd name="connsiteY3" fmla="*/ 0 h 1700504"/>
                  <a:gd name="connsiteX4" fmla="*/ 1700505 w 1700504"/>
                  <a:gd name="connsiteY4" fmla="*/ 117653 h 1700504"/>
                  <a:gd name="connsiteX5" fmla="*/ 1700505 w 1700504"/>
                  <a:gd name="connsiteY5" fmla="*/ 117742 h 1700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0504" h="1700504">
                    <a:moveTo>
                      <a:pt x="117742" y="1700505"/>
                    </a:moveTo>
                    <a:lnTo>
                      <a:pt x="0" y="1582763"/>
                    </a:lnTo>
                    <a:lnTo>
                      <a:pt x="1582763" y="0"/>
                    </a:lnTo>
                    <a:lnTo>
                      <a:pt x="1582852" y="0"/>
                    </a:lnTo>
                    <a:lnTo>
                      <a:pt x="1700505" y="117653"/>
                    </a:lnTo>
                    <a:lnTo>
                      <a:pt x="1700505" y="117742"/>
                    </a:lnTo>
                    <a:close/>
                  </a:path>
                </a:pathLst>
              </a:custGeom>
              <a:solidFill>
                <a:srgbClr val="D2D2D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48" name="Freeform: Shape 147">
                <a:extLst>
                  <a:ext uri="{FF2B5EF4-FFF2-40B4-BE49-F238E27FC236}">
                    <a16:creationId xmlns:a16="http://schemas.microsoft.com/office/drawing/2014/main" id="{99E2E82A-C592-4CDA-95F2-26706853B1B7}"/>
                  </a:ext>
                </a:extLst>
              </p:cNvPr>
              <p:cNvSpPr/>
              <p:nvPr/>
            </p:nvSpPr>
            <p:spPr>
              <a:xfrm>
                <a:off x="5689618" y="1844896"/>
                <a:ext cx="242126" cy="243783"/>
              </a:xfrm>
              <a:custGeom>
                <a:avLst/>
                <a:gdLst>
                  <a:gd name="connsiteX0" fmla="*/ 204947 w 242126"/>
                  <a:gd name="connsiteY0" fmla="*/ 5722 h 243783"/>
                  <a:gd name="connsiteX1" fmla="*/ 12192 w 242126"/>
                  <a:gd name="connsiteY1" fmla="*/ 113850 h 243783"/>
                  <a:gd name="connsiteX2" fmla="*/ 12192 w 242126"/>
                  <a:gd name="connsiteY2" fmla="*/ 172721 h 243783"/>
                  <a:gd name="connsiteX3" fmla="*/ 70155 w 242126"/>
                  <a:gd name="connsiteY3" fmla="*/ 173603 h 243783"/>
                  <a:gd name="connsiteX4" fmla="*/ 70180 w 242126"/>
                  <a:gd name="connsiteY4" fmla="*/ 173629 h 243783"/>
                  <a:gd name="connsiteX5" fmla="*/ 71063 w 242126"/>
                  <a:gd name="connsiteY5" fmla="*/ 231592 h 243783"/>
                  <a:gd name="connsiteX6" fmla="*/ 129927 w 242126"/>
                  <a:gd name="connsiteY6" fmla="*/ 231592 h 243783"/>
                  <a:gd name="connsiteX7" fmla="*/ 238055 w 242126"/>
                  <a:gd name="connsiteY7" fmla="*/ 38844 h 243783"/>
                  <a:gd name="connsiteX8" fmla="*/ 238062 w 242126"/>
                  <a:gd name="connsiteY8" fmla="*/ 38818 h 243783"/>
                  <a:gd name="connsiteX9" fmla="*/ 242126 w 242126"/>
                  <a:gd name="connsiteY9" fmla="*/ 71 h 243783"/>
                  <a:gd name="connsiteX10" fmla="*/ 242056 w 242126"/>
                  <a:gd name="connsiteY10" fmla="*/ 1 h 243783"/>
                  <a:gd name="connsiteX11" fmla="*/ 204959 w 242126"/>
                  <a:gd name="connsiteY11" fmla="*/ 5716 h 243783"/>
                  <a:gd name="connsiteX12" fmla="*/ 204947 w 242126"/>
                  <a:gd name="connsiteY12" fmla="*/ 5722 h 24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6" h="243783">
                    <a:moveTo>
                      <a:pt x="204947" y="5722"/>
                    </a:moveTo>
                    <a:lnTo>
                      <a:pt x="12192" y="113850"/>
                    </a:lnTo>
                    <a:cubicBezTo>
                      <a:pt x="-4064" y="130106"/>
                      <a:pt x="-4064" y="156465"/>
                      <a:pt x="12192" y="172721"/>
                    </a:cubicBezTo>
                    <a:cubicBezTo>
                      <a:pt x="28150" y="188678"/>
                      <a:pt x="53836" y="188970"/>
                      <a:pt x="70155" y="173603"/>
                    </a:cubicBezTo>
                    <a:cubicBezTo>
                      <a:pt x="70212" y="173546"/>
                      <a:pt x="70238" y="173572"/>
                      <a:pt x="70180" y="173629"/>
                    </a:cubicBezTo>
                    <a:cubicBezTo>
                      <a:pt x="54807" y="189942"/>
                      <a:pt x="55106" y="215634"/>
                      <a:pt x="71063" y="231592"/>
                    </a:cubicBezTo>
                    <a:cubicBezTo>
                      <a:pt x="87319" y="247848"/>
                      <a:pt x="113671" y="247848"/>
                      <a:pt x="129927" y="231592"/>
                    </a:cubicBezTo>
                    <a:lnTo>
                      <a:pt x="238055" y="38844"/>
                    </a:lnTo>
                    <a:cubicBezTo>
                      <a:pt x="238062" y="38837"/>
                      <a:pt x="238062" y="38825"/>
                      <a:pt x="238062" y="38818"/>
                    </a:cubicBezTo>
                    <a:lnTo>
                      <a:pt x="242126" y="71"/>
                    </a:lnTo>
                    <a:cubicBezTo>
                      <a:pt x="242132" y="26"/>
                      <a:pt x="242094" y="-6"/>
                      <a:pt x="242056" y="1"/>
                    </a:cubicBezTo>
                    <a:lnTo>
                      <a:pt x="204959" y="5716"/>
                    </a:lnTo>
                    <a:cubicBezTo>
                      <a:pt x="204966" y="5716"/>
                      <a:pt x="204953" y="5722"/>
                      <a:pt x="204947" y="5722"/>
                    </a:cubicBezTo>
                    <a:close/>
                  </a:path>
                </a:pathLst>
              </a:custGeom>
              <a:solidFill>
                <a:srgbClr val="FFFFFF"/>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49" name="Freeform: Shape 148">
                <a:extLst>
                  <a:ext uri="{FF2B5EF4-FFF2-40B4-BE49-F238E27FC236}">
                    <a16:creationId xmlns:a16="http://schemas.microsoft.com/office/drawing/2014/main" id="{6FA65AA4-6C90-49A6-B360-59CCDBEFA47C}"/>
                  </a:ext>
                </a:extLst>
              </p:cNvPr>
              <p:cNvSpPr/>
              <p:nvPr/>
            </p:nvSpPr>
            <p:spPr>
              <a:xfrm>
                <a:off x="5894614" y="1808302"/>
                <a:ext cx="75388" cy="75388"/>
              </a:xfrm>
              <a:custGeom>
                <a:avLst/>
                <a:gdLst>
                  <a:gd name="connsiteX0" fmla="*/ 75389 w 75388"/>
                  <a:gd name="connsiteY0" fmla="*/ 0 h 75388"/>
                  <a:gd name="connsiteX1" fmla="*/ 33 w 75388"/>
                  <a:gd name="connsiteY1" fmla="*/ 42272 h 75388"/>
                  <a:gd name="connsiteX2" fmla="*/ 20 w 75388"/>
                  <a:gd name="connsiteY2" fmla="*/ 42374 h 75388"/>
                  <a:gd name="connsiteX3" fmla="*/ 33015 w 75388"/>
                  <a:gd name="connsiteY3" fmla="*/ 75368 h 75388"/>
                  <a:gd name="connsiteX4" fmla="*/ 33116 w 75388"/>
                  <a:gd name="connsiteY4" fmla="*/ 75355 h 75388"/>
                  <a:gd name="connsiteX5" fmla="*/ 75389 w 75388"/>
                  <a:gd name="connsiteY5" fmla="*/ 0 h 75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88" h="75388">
                    <a:moveTo>
                      <a:pt x="75389" y="0"/>
                    </a:moveTo>
                    <a:lnTo>
                      <a:pt x="33" y="42272"/>
                    </a:lnTo>
                    <a:cubicBezTo>
                      <a:pt x="-5" y="42291"/>
                      <a:pt x="-11" y="42342"/>
                      <a:pt x="20" y="42374"/>
                    </a:cubicBezTo>
                    <a:lnTo>
                      <a:pt x="33015" y="75368"/>
                    </a:lnTo>
                    <a:cubicBezTo>
                      <a:pt x="33047" y="75400"/>
                      <a:pt x="33097" y="75393"/>
                      <a:pt x="33116" y="75355"/>
                    </a:cubicBezTo>
                    <a:lnTo>
                      <a:pt x="75389" y="0"/>
                    </a:lnTo>
                    <a:close/>
                  </a:path>
                </a:pathLst>
              </a:custGeom>
              <a:solidFill>
                <a:srgbClr val="737373"/>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19" name="Graphic 6" descr="A desktop with a ruler and various office supplies">
              <a:extLst>
                <a:ext uri="{FF2B5EF4-FFF2-40B4-BE49-F238E27FC236}">
                  <a16:creationId xmlns:a16="http://schemas.microsoft.com/office/drawing/2014/main" id="{3E5D2B76-1708-4AEE-B7EC-017FC476E00E}"/>
                </a:ext>
              </a:extLst>
            </p:cNvPr>
            <p:cNvGrpSpPr/>
            <p:nvPr/>
          </p:nvGrpSpPr>
          <p:grpSpPr>
            <a:xfrm>
              <a:off x="2267285" y="560311"/>
              <a:ext cx="1629861" cy="1901723"/>
              <a:chOff x="2267285" y="560311"/>
              <a:chExt cx="1629861" cy="1901723"/>
            </a:xfrm>
          </p:grpSpPr>
          <p:sp>
            <p:nvSpPr>
              <p:cNvPr id="140" name="Freeform: Shape 139">
                <a:extLst>
                  <a:ext uri="{FF2B5EF4-FFF2-40B4-BE49-F238E27FC236}">
                    <a16:creationId xmlns:a16="http://schemas.microsoft.com/office/drawing/2014/main" id="{1D714DAB-11D0-4154-8C79-998D88A76D1F}"/>
                  </a:ext>
                </a:extLst>
              </p:cNvPr>
              <p:cNvSpPr/>
              <p:nvPr/>
            </p:nvSpPr>
            <p:spPr>
              <a:xfrm>
                <a:off x="2410898" y="1351978"/>
                <a:ext cx="1110043" cy="1110056"/>
              </a:xfrm>
              <a:custGeom>
                <a:avLst/>
                <a:gdLst>
                  <a:gd name="connsiteX0" fmla="*/ 0 w 1110043"/>
                  <a:gd name="connsiteY0" fmla="*/ 0 h 1110056"/>
                  <a:gd name="connsiteX1" fmla="*/ 1110044 w 1110043"/>
                  <a:gd name="connsiteY1" fmla="*/ 0 h 1110056"/>
                  <a:gd name="connsiteX2" fmla="*/ 1110044 w 1110043"/>
                  <a:gd name="connsiteY2" fmla="*/ 1110056 h 1110056"/>
                  <a:gd name="connsiteX3" fmla="*/ 0 w 1110043"/>
                  <a:gd name="connsiteY3" fmla="*/ 1110056 h 1110056"/>
                </a:gdLst>
                <a:ahLst/>
                <a:cxnLst>
                  <a:cxn ang="0">
                    <a:pos x="connsiteX0" y="connsiteY0"/>
                  </a:cxn>
                  <a:cxn ang="0">
                    <a:pos x="connsiteX1" y="connsiteY1"/>
                  </a:cxn>
                  <a:cxn ang="0">
                    <a:pos x="connsiteX2" y="connsiteY2"/>
                  </a:cxn>
                  <a:cxn ang="0">
                    <a:pos x="connsiteX3" y="connsiteY3"/>
                  </a:cxn>
                </a:cxnLst>
                <a:rect l="l" t="t" r="r" b="b"/>
                <a:pathLst>
                  <a:path w="1110043" h="1110056">
                    <a:moveTo>
                      <a:pt x="0" y="0"/>
                    </a:moveTo>
                    <a:lnTo>
                      <a:pt x="1110044" y="0"/>
                    </a:lnTo>
                    <a:lnTo>
                      <a:pt x="1110044" y="1110056"/>
                    </a:lnTo>
                    <a:lnTo>
                      <a:pt x="0" y="1110056"/>
                    </a:lnTo>
                    <a:close/>
                  </a:path>
                </a:pathLst>
              </a:custGeom>
              <a:solidFill>
                <a:srgbClr val="D2D2D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41" name="Freeform: Shape 140">
                <a:extLst>
                  <a:ext uri="{FF2B5EF4-FFF2-40B4-BE49-F238E27FC236}">
                    <a16:creationId xmlns:a16="http://schemas.microsoft.com/office/drawing/2014/main" id="{F6F6AFAD-257F-4192-822A-84756C0C6DA8}"/>
                  </a:ext>
                </a:extLst>
              </p:cNvPr>
              <p:cNvSpPr/>
              <p:nvPr/>
            </p:nvSpPr>
            <p:spPr>
              <a:xfrm rot="-2700000">
                <a:off x="2497182" y="883313"/>
                <a:ext cx="1110039" cy="1110039"/>
              </a:xfrm>
              <a:custGeom>
                <a:avLst/>
                <a:gdLst>
                  <a:gd name="connsiteX0" fmla="*/ 0 w 1110039"/>
                  <a:gd name="connsiteY0" fmla="*/ 0 h 1110039"/>
                  <a:gd name="connsiteX1" fmla="*/ 1110039 w 1110039"/>
                  <a:gd name="connsiteY1" fmla="*/ 0 h 1110039"/>
                  <a:gd name="connsiteX2" fmla="*/ 1110039 w 1110039"/>
                  <a:gd name="connsiteY2" fmla="*/ 1110039 h 1110039"/>
                  <a:gd name="connsiteX3" fmla="*/ 0 w 1110039"/>
                  <a:gd name="connsiteY3" fmla="*/ 1110039 h 1110039"/>
                </a:gdLst>
                <a:ahLst/>
                <a:cxnLst>
                  <a:cxn ang="0">
                    <a:pos x="connsiteX0" y="connsiteY0"/>
                  </a:cxn>
                  <a:cxn ang="0">
                    <a:pos x="connsiteX1" y="connsiteY1"/>
                  </a:cxn>
                  <a:cxn ang="0">
                    <a:pos x="connsiteX2" y="connsiteY2"/>
                  </a:cxn>
                  <a:cxn ang="0">
                    <a:pos x="connsiteX3" y="connsiteY3"/>
                  </a:cxn>
                </a:cxnLst>
                <a:rect l="l" t="t" r="r" b="b"/>
                <a:pathLst>
                  <a:path w="1110039" h="1110039">
                    <a:moveTo>
                      <a:pt x="0" y="0"/>
                    </a:moveTo>
                    <a:lnTo>
                      <a:pt x="1110039" y="0"/>
                    </a:lnTo>
                    <a:lnTo>
                      <a:pt x="1110039" y="1110039"/>
                    </a:lnTo>
                    <a:lnTo>
                      <a:pt x="0" y="1110039"/>
                    </a:lnTo>
                    <a:close/>
                  </a:path>
                </a:pathLst>
              </a:custGeom>
              <a:solidFill>
                <a:schemeClr val="bg1">
                  <a:lumMod val="65000"/>
                </a:schemeClr>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nvGrpSpPr>
              <p:cNvPr id="142" name="Graphic 6" descr="A desktop with a ruler and various office supplies">
                <a:extLst>
                  <a:ext uri="{FF2B5EF4-FFF2-40B4-BE49-F238E27FC236}">
                    <a16:creationId xmlns:a16="http://schemas.microsoft.com/office/drawing/2014/main" id="{9866696C-8EC2-4A76-8F19-595ABFDFF42C}"/>
                  </a:ext>
                </a:extLst>
              </p:cNvPr>
              <p:cNvGrpSpPr/>
              <p:nvPr/>
            </p:nvGrpSpPr>
            <p:grpSpPr>
              <a:xfrm>
                <a:off x="2780919" y="560311"/>
                <a:ext cx="1116228" cy="1110062"/>
                <a:chOff x="2780919" y="560311"/>
                <a:chExt cx="1116228" cy="1110062"/>
              </a:xfrm>
            </p:grpSpPr>
            <p:sp>
              <p:nvSpPr>
                <p:cNvPr id="143" name="Freeform: Shape 142">
                  <a:extLst>
                    <a:ext uri="{FF2B5EF4-FFF2-40B4-BE49-F238E27FC236}">
                      <a16:creationId xmlns:a16="http://schemas.microsoft.com/office/drawing/2014/main" id="{DFEEA631-5AF1-4574-8D6D-6634D93E792C}"/>
                    </a:ext>
                  </a:extLst>
                </p:cNvPr>
                <p:cNvSpPr/>
                <p:nvPr/>
              </p:nvSpPr>
              <p:spPr>
                <a:xfrm>
                  <a:off x="2780919" y="560311"/>
                  <a:ext cx="1116228" cy="1110062"/>
                </a:xfrm>
                <a:custGeom>
                  <a:avLst/>
                  <a:gdLst>
                    <a:gd name="connsiteX0" fmla="*/ 1116228 w 1116228"/>
                    <a:gd name="connsiteY0" fmla="*/ 1110063 h 1110062"/>
                    <a:gd name="connsiteX1" fmla="*/ 172676 w 1116228"/>
                    <a:gd name="connsiteY1" fmla="*/ 1079227 h 1110062"/>
                    <a:gd name="connsiteX2" fmla="*/ 0 w 1116228"/>
                    <a:gd name="connsiteY2" fmla="*/ 487197 h 1110062"/>
                    <a:gd name="connsiteX3" fmla="*/ 6166 w 1116228"/>
                    <a:gd name="connsiteY3" fmla="*/ 0 h 1110062"/>
                    <a:gd name="connsiteX4" fmla="*/ 1116228 w 1116228"/>
                    <a:gd name="connsiteY4" fmla="*/ 0 h 111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228" h="1110062">
                      <a:moveTo>
                        <a:pt x="1116228" y="1110063"/>
                      </a:moveTo>
                      <a:lnTo>
                        <a:pt x="172676" y="1079227"/>
                      </a:lnTo>
                      <a:lnTo>
                        <a:pt x="0" y="487197"/>
                      </a:lnTo>
                      <a:lnTo>
                        <a:pt x="6166" y="0"/>
                      </a:lnTo>
                      <a:lnTo>
                        <a:pt x="1116228" y="0"/>
                      </a:ln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44" name="Freeform: Shape 143">
                  <a:extLst>
                    <a:ext uri="{FF2B5EF4-FFF2-40B4-BE49-F238E27FC236}">
                      <a16:creationId xmlns:a16="http://schemas.microsoft.com/office/drawing/2014/main" id="{646526C1-4316-4A10-B9D9-D81B0BE7EAAE}"/>
                    </a:ext>
                  </a:extLst>
                </p:cNvPr>
                <p:cNvSpPr/>
                <p:nvPr/>
              </p:nvSpPr>
              <p:spPr>
                <a:xfrm>
                  <a:off x="2780985" y="1047670"/>
                  <a:ext cx="382107" cy="591821"/>
                </a:xfrm>
                <a:custGeom>
                  <a:avLst/>
                  <a:gdLst>
                    <a:gd name="connsiteX0" fmla="*/ 111 w 382107"/>
                    <a:gd name="connsiteY0" fmla="*/ 22 h 591821"/>
                    <a:gd name="connsiteX1" fmla="*/ 382108 w 382107"/>
                    <a:gd name="connsiteY1" fmla="*/ 394516 h 591821"/>
                    <a:gd name="connsiteX2" fmla="*/ 172685 w 382107"/>
                    <a:gd name="connsiteY2" fmla="*/ 591804 h 591821"/>
                    <a:gd name="connsiteX3" fmla="*/ 172583 w 382107"/>
                    <a:gd name="connsiteY3" fmla="*/ 591779 h 591821"/>
                    <a:gd name="connsiteX4" fmla="*/ 3 w 382107"/>
                    <a:gd name="connsiteY4" fmla="*/ 79 h 591821"/>
                    <a:gd name="connsiteX5" fmla="*/ 111 w 382107"/>
                    <a:gd name="connsiteY5" fmla="*/ 22 h 59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07" h="591821">
                      <a:moveTo>
                        <a:pt x="111" y="22"/>
                      </a:moveTo>
                      <a:lnTo>
                        <a:pt x="382108" y="394516"/>
                      </a:lnTo>
                      <a:lnTo>
                        <a:pt x="172685" y="591804"/>
                      </a:lnTo>
                      <a:cubicBezTo>
                        <a:pt x="172653" y="591836"/>
                        <a:pt x="172596" y="591823"/>
                        <a:pt x="172583" y="591779"/>
                      </a:cubicBezTo>
                      <a:lnTo>
                        <a:pt x="3" y="79"/>
                      </a:lnTo>
                      <a:cubicBezTo>
                        <a:pt x="-16" y="16"/>
                        <a:pt x="66" y="-29"/>
                        <a:pt x="111" y="22"/>
                      </a:cubicBezTo>
                      <a:close/>
                    </a:path>
                  </a:pathLst>
                </a:custGeom>
                <a:solidFill>
                  <a:srgbClr val="E6E6E6"/>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grpSp>
          <p:nvGrpSpPr>
            <p:cNvPr id="120" name="Graphic 6" descr="A desktop with a ruler and various office supplies">
              <a:extLst>
                <a:ext uri="{FF2B5EF4-FFF2-40B4-BE49-F238E27FC236}">
                  <a16:creationId xmlns:a16="http://schemas.microsoft.com/office/drawing/2014/main" id="{B390738B-9B39-45F7-A400-671CFABAD2C8}"/>
                </a:ext>
              </a:extLst>
            </p:cNvPr>
            <p:cNvGrpSpPr/>
            <p:nvPr/>
          </p:nvGrpSpPr>
          <p:grpSpPr>
            <a:xfrm>
              <a:off x="5383403" y="1302638"/>
              <a:ext cx="283686" cy="283679"/>
              <a:chOff x="5383403" y="1302638"/>
              <a:chExt cx="283686" cy="283679"/>
            </a:xfrm>
          </p:grpSpPr>
          <p:sp>
            <p:nvSpPr>
              <p:cNvPr id="138" name="Freeform: Shape 137">
                <a:extLst>
                  <a:ext uri="{FF2B5EF4-FFF2-40B4-BE49-F238E27FC236}">
                    <a16:creationId xmlns:a16="http://schemas.microsoft.com/office/drawing/2014/main" id="{F8C2221B-5255-4F11-8800-B3594001BF85}"/>
                  </a:ext>
                </a:extLst>
              </p:cNvPr>
              <p:cNvSpPr/>
              <p:nvPr/>
            </p:nvSpPr>
            <p:spPr>
              <a:xfrm>
                <a:off x="5400584" y="1321209"/>
                <a:ext cx="266504" cy="265109"/>
              </a:xfrm>
              <a:custGeom>
                <a:avLst/>
                <a:gdLst>
                  <a:gd name="connsiteX0" fmla="*/ 19820 w 266504"/>
                  <a:gd name="connsiteY0" fmla="*/ 265109 h 265109"/>
                  <a:gd name="connsiteX1" fmla="*/ 180163 w 266504"/>
                  <a:gd name="connsiteY1" fmla="*/ 265109 h 265109"/>
                  <a:gd name="connsiteX2" fmla="*/ 266505 w 266504"/>
                  <a:gd name="connsiteY2" fmla="*/ 178768 h 265109"/>
                  <a:gd name="connsiteX3" fmla="*/ 266505 w 266504"/>
                  <a:gd name="connsiteY3" fmla="*/ 18424 h 265109"/>
                  <a:gd name="connsiteX4" fmla="*/ 235046 w 266504"/>
                  <a:gd name="connsiteY4" fmla="*/ 219 h 265109"/>
                  <a:gd name="connsiteX5" fmla="*/ 96 w 266504"/>
                  <a:gd name="connsiteY5" fmla="*/ 230724 h 265109"/>
                  <a:gd name="connsiteX6" fmla="*/ 19820 w 266504"/>
                  <a:gd name="connsiteY6" fmla="*/ 265109 h 265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04" h="265109">
                    <a:moveTo>
                      <a:pt x="19820" y="265109"/>
                    </a:moveTo>
                    <a:lnTo>
                      <a:pt x="180163" y="265109"/>
                    </a:lnTo>
                    <a:cubicBezTo>
                      <a:pt x="180163" y="217427"/>
                      <a:pt x="218816" y="178768"/>
                      <a:pt x="266505" y="178768"/>
                    </a:cubicBezTo>
                    <a:lnTo>
                      <a:pt x="266505" y="18424"/>
                    </a:lnTo>
                    <a:cubicBezTo>
                      <a:pt x="257271" y="7839"/>
                      <a:pt x="246997" y="-1566"/>
                      <a:pt x="235046" y="219"/>
                    </a:cubicBezTo>
                    <a:cubicBezTo>
                      <a:pt x="111857" y="18634"/>
                      <a:pt x="13413" y="120659"/>
                      <a:pt x="96" y="230724"/>
                    </a:cubicBezTo>
                    <a:cubicBezTo>
                      <a:pt x="-1097" y="240547"/>
                      <a:pt x="8980" y="254860"/>
                      <a:pt x="19820" y="265109"/>
                    </a:cubicBezTo>
                    <a:close/>
                  </a:path>
                </a:pathLst>
              </a:custGeom>
              <a:solidFill>
                <a:srgbClr val="FFFFFF"/>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39" name="Freeform: Shape 138">
                <a:extLst>
                  <a:ext uri="{FF2B5EF4-FFF2-40B4-BE49-F238E27FC236}">
                    <a16:creationId xmlns:a16="http://schemas.microsoft.com/office/drawing/2014/main" id="{DAB4F3F8-1112-4A3D-9733-6B7B9EF57A84}"/>
                  </a:ext>
                </a:extLst>
              </p:cNvPr>
              <p:cNvSpPr/>
              <p:nvPr/>
            </p:nvSpPr>
            <p:spPr>
              <a:xfrm>
                <a:off x="5383403" y="1302638"/>
                <a:ext cx="283679" cy="283679"/>
              </a:xfrm>
              <a:custGeom>
                <a:avLst/>
                <a:gdLst>
                  <a:gd name="connsiteX0" fmla="*/ 283680 w 283679"/>
                  <a:gd name="connsiteY0" fmla="*/ 37001 h 283679"/>
                  <a:gd name="connsiteX1" fmla="*/ 283680 w 283679"/>
                  <a:gd name="connsiteY1" fmla="*/ 0 h 283679"/>
                  <a:gd name="connsiteX2" fmla="*/ 0 w 283679"/>
                  <a:gd name="connsiteY2" fmla="*/ 283680 h 283679"/>
                  <a:gd name="connsiteX3" fmla="*/ 37001 w 283679"/>
                  <a:gd name="connsiteY3" fmla="*/ 283680 h 283679"/>
                  <a:gd name="connsiteX4" fmla="*/ 283680 w 283679"/>
                  <a:gd name="connsiteY4" fmla="*/ 37001 h 2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679" h="283679">
                    <a:moveTo>
                      <a:pt x="283680" y="37001"/>
                    </a:moveTo>
                    <a:lnTo>
                      <a:pt x="283680" y="0"/>
                    </a:lnTo>
                    <a:cubicBezTo>
                      <a:pt x="127012" y="0"/>
                      <a:pt x="0" y="127013"/>
                      <a:pt x="0" y="283680"/>
                    </a:cubicBezTo>
                    <a:lnTo>
                      <a:pt x="37001" y="283680"/>
                    </a:lnTo>
                    <a:cubicBezTo>
                      <a:pt x="37001" y="147441"/>
                      <a:pt x="147453" y="37001"/>
                      <a:pt x="283680" y="37001"/>
                    </a:cubicBezTo>
                    <a:close/>
                  </a:path>
                </a:pathLst>
              </a:custGeom>
              <a:solidFill>
                <a:srgbClr val="E6E6E6"/>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21" name="Graphic 6" descr="A desktop with a ruler and various office supplies">
              <a:extLst>
                <a:ext uri="{FF2B5EF4-FFF2-40B4-BE49-F238E27FC236}">
                  <a16:creationId xmlns:a16="http://schemas.microsoft.com/office/drawing/2014/main" id="{836AC06C-4651-4AC7-80F7-E789945D5D3F}"/>
                </a:ext>
              </a:extLst>
            </p:cNvPr>
            <p:cNvGrpSpPr/>
            <p:nvPr/>
          </p:nvGrpSpPr>
          <p:grpSpPr>
            <a:xfrm>
              <a:off x="5423325" y="2476665"/>
              <a:ext cx="401186" cy="222627"/>
              <a:chOff x="5423325" y="2476665"/>
              <a:chExt cx="401186" cy="222627"/>
            </a:xfrm>
          </p:grpSpPr>
          <p:sp>
            <p:nvSpPr>
              <p:cNvPr id="136" name="Freeform: Shape 135">
                <a:extLst>
                  <a:ext uri="{FF2B5EF4-FFF2-40B4-BE49-F238E27FC236}">
                    <a16:creationId xmlns:a16="http://schemas.microsoft.com/office/drawing/2014/main" id="{B3BE1AB1-EDC6-47C4-80DF-6B43D8793279}"/>
                  </a:ext>
                </a:extLst>
              </p:cNvPr>
              <p:cNvSpPr/>
              <p:nvPr/>
            </p:nvSpPr>
            <p:spPr>
              <a:xfrm>
                <a:off x="5447510" y="2476665"/>
                <a:ext cx="352839" cy="205242"/>
              </a:xfrm>
              <a:custGeom>
                <a:avLst/>
                <a:gdLst>
                  <a:gd name="connsiteX0" fmla="*/ 350833 w 352839"/>
                  <a:gd name="connsiteY0" fmla="*/ 113379 h 205242"/>
                  <a:gd name="connsiteX1" fmla="*/ 237454 w 352839"/>
                  <a:gd name="connsiteY1" fmla="*/ 0 h 205242"/>
                  <a:gd name="connsiteX2" fmla="*/ 115356 w 352839"/>
                  <a:gd name="connsiteY2" fmla="*/ 0 h 205242"/>
                  <a:gd name="connsiteX3" fmla="*/ 1977 w 352839"/>
                  <a:gd name="connsiteY3" fmla="*/ 113379 h 205242"/>
                  <a:gd name="connsiteX4" fmla="*/ 9679 w 352839"/>
                  <a:gd name="connsiteY4" fmla="*/ 149269 h 205242"/>
                  <a:gd name="connsiteX5" fmla="*/ 341574 w 352839"/>
                  <a:gd name="connsiteY5" fmla="*/ 148425 h 205242"/>
                  <a:gd name="connsiteX6" fmla="*/ 350833 w 352839"/>
                  <a:gd name="connsiteY6" fmla="*/ 113379 h 20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839" h="205242">
                    <a:moveTo>
                      <a:pt x="350833" y="113379"/>
                    </a:moveTo>
                    <a:lnTo>
                      <a:pt x="237454" y="0"/>
                    </a:lnTo>
                    <a:cubicBezTo>
                      <a:pt x="203735" y="33718"/>
                      <a:pt x="149068" y="33718"/>
                      <a:pt x="115356" y="0"/>
                    </a:cubicBezTo>
                    <a:lnTo>
                      <a:pt x="1977" y="113379"/>
                    </a:lnTo>
                    <a:cubicBezTo>
                      <a:pt x="-3021" y="128105"/>
                      <a:pt x="2161" y="143326"/>
                      <a:pt x="9679" y="149269"/>
                    </a:cubicBezTo>
                    <a:cubicBezTo>
                      <a:pt x="98604" y="219539"/>
                      <a:pt x="239974" y="228435"/>
                      <a:pt x="341574" y="148425"/>
                    </a:cubicBezTo>
                    <a:cubicBezTo>
                      <a:pt x="349461" y="142208"/>
                      <a:pt x="356389" y="126835"/>
                      <a:pt x="350833" y="113379"/>
                    </a:cubicBezTo>
                    <a:close/>
                  </a:path>
                </a:pathLst>
              </a:custGeom>
              <a:solidFill>
                <a:srgbClr val="FFFFFF"/>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37" name="Freeform: Shape 136">
                <a:extLst>
                  <a:ext uri="{FF2B5EF4-FFF2-40B4-BE49-F238E27FC236}">
                    <a16:creationId xmlns:a16="http://schemas.microsoft.com/office/drawing/2014/main" id="{B511E058-E3C9-47C0-93D0-8A5DCB16414F}"/>
                  </a:ext>
                </a:extLst>
              </p:cNvPr>
              <p:cNvSpPr/>
              <p:nvPr/>
            </p:nvSpPr>
            <p:spPr>
              <a:xfrm>
                <a:off x="5423325" y="2590044"/>
                <a:ext cx="401186" cy="109248"/>
              </a:xfrm>
              <a:custGeom>
                <a:avLst/>
                <a:gdLst>
                  <a:gd name="connsiteX0" fmla="*/ 26162 w 401186"/>
                  <a:gd name="connsiteY0" fmla="*/ 0 h 109248"/>
                  <a:gd name="connsiteX1" fmla="*/ 0 w 401186"/>
                  <a:gd name="connsiteY1" fmla="*/ 26162 h 109248"/>
                  <a:gd name="connsiteX2" fmla="*/ 401186 w 401186"/>
                  <a:gd name="connsiteY2" fmla="*/ 26162 h 109248"/>
                  <a:gd name="connsiteX3" fmla="*/ 375024 w 401186"/>
                  <a:gd name="connsiteY3" fmla="*/ 0 h 109248"/>
                  <a:gd name="connsiteX4" fmla="*/ 26162 w 401186"/>
                  <a:gd name="connsiteY4" fmla="*/ 0 h 10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186" h="109248">
                    <a:moveTo>
                      <a:pt x="26162" y="0"/>
                    </a:moveTo>
                    <a:lnTo>
                      <a:pt x="0" y="26162"/>
                    </a:lnTo>
                    <a:cubicBezTo>
                      <a:pt x="110782" y="136944"/>
                      <a:pt x="290404" y="136944"/>
                      <a:pt x="401186" y="26162"/>
                    </a:cubicBezTo>
                    <a:lnTo>
                      <a:pt x="375024" y="0"/>
                    </a:lnTo>
                    <a:cubicBezTo>
                      <a:pt x="278682" y="96336"/>
                      <a:pt x="122485" y="96329"/>
                      <a:pt x="26162" y="0"/>
                    </a:cubicBezTo>
                    <a:close/>
                  </a:path>
                </a:pathLst>
              </a:custGeom>
              <a:solidFill>
                <a:srgbClr val="E6E6E6"/>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22" name="Graphic 6" descr="A desktop with a ruler and various office supplies">
              <a:extLst>
                <a:ext uri="{FF2B5EF4-FFF2-40B4-BE49-F238E27FC236}">
                  <a16:creationId xmlns:a16="http://schemas.microsoft.com/office/drawing/2014/main" id="{05AE2CC2-6988-4BA6-A4B1-B03623FBD74B}"/>
                </a:ext>
              </a:extLst>
            </p:cNvPr>
            <p:cNvGrpSpPr/>
            <p:nvPr/>
          </p:nvGrpSpPr>
          <p:grpSpPr>
            <a:xfrm>
              <a:off x="5807221" y="193332"/>
              <a:ext cx="401186" cy="222627"/>
              <a:chOff x="5807221" y="193332"/>
              <a:chExt cx="401186" cy="222627"/>
            </a:xfrm>
          </p:grpSpPr>
          <p:sp>
            <p:nvSpPr>
              <p:cNvPr id="134" name="Freeform: Shape 133">
                <a:extLst>
                  <a:ext uri="{FF2B5EF4-FFF2-40B4-BE49-F238E27FC236}">
                    <a16:creationId xmlns:a16="http://schemas.microsoft.com/office/drawing/2014/main" id="{FAC24A40-7775-4F97-93EA-0F11DCCAB4CB}"/>
                  </a:ext>
                </a:extLst>
              </p:cNvPr>
              <p:cNvSpPr/>
              <p:nvPr/>
            </p:nvSpPr>
            <p:spPr>
              <a:xfrm>
                <a:off x="5829939" y="193332"/>
                <a:ext cx="353609" cy="205012"/>
              </a:xfrm>
              <a:custGeom>
                <a:avLst/>
                <a:gdLst>
                  <a:gd name="connsiteX0" fmla="*/ 352299 w 353609"/>
                  <a:gd name="connsiteY0" fmla="*/ 113379 h 205012"/>
                  <a:gd name="connsiteX1" fmla="*/ 238920 w 353609"/>
                  <a:gd name="connsiteY1" fmla="*/ 0 h 205012"/>
                  <a:gd name="connsiteX2" fmla="*/ 116822 w 353609"/>
                  <a:gd name="connsiteY2" fmla="*/ 0 h 205012"/>
                  <a:gd name="connsiteX3" fmla="*/ 3443 w 353609"/>
                  <a:gd name="connsiteY3" fmla="*/ 113379 h 205012"/>
                  <a:gd name="connsiteX4" fmla="*/ 8250 w 353609"/>
                  <a:gd name="connsiteY4" fmla="*/ 144488 h 205012"/>
                  <a:gd name="connsiteX5" fmla="*/ 345435 w 353609"/>
                  <a:gd name="connsiteY5" fmla="*/ 143853 h 205012"/>
                  <a:gd name="connsiteX6" fmla="*/ 352299 w 353609"/>
                  <a:gd name="connsiteY6" fmla="*/ 113379 h 20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3609" h="205012">
                    <a:moveTo>
                      <a:pt x="352299" y="113379"/>
                    </a:moveTo>
                    <a:lnTo>
                      <a:pt x="238920" y="0"/>
                    </a:lnTo>
                    <a:cubicBezTo>
                      <a:pt x="205202" y="33719"/>
                      <a:pt x="150535" y="33719"/>
                      <a:pt x="116822" y="0"/>
                    </a:cubicBezTo>
                    <a:lnTo>
                      <a:pt x="3443" y="113379"/>
                    </a:lnTo>
                    <a:cubicBezTo>
                      <a:pt x="-3815" y="127978"/>
                      <a:pt x="1665" y="139135"/>
                      <a:pt x="8250" y="144488"/>
                    </a:cubicBezTo>
                    <a:cubicBezTo>
                      <a:pt x="98128" y="217507"/>
                      <a:pt x="235580" y="232753"/>
                      <a:pt x="345435" y="143853"/>
                    </a:cubicBezTo>
                    <a:cubicBezTo>
                      <a:pt x="352439" y="138182"/>
                      <a:pt x="355595" y="129248"/>
                      <a:pt x="352299" y="113379"/>
                    </a:cubicBezTo>
                    <a:close/>
                  </a:path>
                </a:pathLst>
              </a:custGeom>
              <a:solidFill>
                <a:srgbClr val="FFFFFF"/>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35" name="Freeform: Shape 134">
                <a:extLst>
                  <a:ext uri="{FF2B5EF4-FFF2-40B4-BE49-F238E27FC236}">
                    <a16:creationId xmlns:a16="http://schemas.microsoft.com/office/drawing/2014/main" id="{74D4D293-68D7-4939-82C0-467C01402D02}"/>
                  </a:ext>
                </a:extLst>
              </p:cNvPr>
              <p:cNvSpPr/>
              <p:nvPr/>
            </p:nvSpPr>
            <p:spPr>
              <a:xfrm>
                <a:off x="5807221" y="306711"/>
                <a:ext cx="401186" cy="109248"/>
              </a:xfrm>
              <a:custGeom>
                <a:avLst/>
                <a:gdLst>
                  <a:gd name="connsiteX0" fmla="*/ 26162 w 401186"/>
                  <a:gd name="connsiteY0" fmla="*/ 0 h 109248"/>
                  <a:gd name="connsiteX1" fmla="*/ 0 w 401186"/>
                  <a:gd name="connsiteY1" fmla="*/ 26162 h 109248"/>
                  <a:gd name="connsiteX2" fmla="*/ 401187 w 401186"/>
                  <a:gd name="connsiteY2" fmla="*/ 26162 h 109248"/>
                  <a:gd name="connsiteX3" fmla="*/ 375024 w 401186"/>
                  <a:gd name="connsiteY3" fmla="*/ 0 h 109248"/>
                  <a:gd name="connsiteX4" fmla="*/ 26162 w 401186"/>
                  <a:gd name="connsiteY4" fmla="*/ 0 h 10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186" h="109248">
                    <a:moveTo>
                      <a:pt x="26162" y="0"/>
                    </a:moveTo>
                    <a:lnTo>
                      <a:pt x="0" y="26162"/>
                    </a:lnTo>
                    <a:cubicBezTo>
                      <a:pt x="110782" y="136944"/>
                      <a:pt x="290404" y="136944"/>
                      <a:pt x="401187" y="26162"/>
                    </a:cubicBezTo>
                    <a:lnTo>
                      <a:pt x="375024" y="0"/>
                    </a:lnTo>
                    <a:cubicBezTo>
                      <a:pt x="278682" y="96336"/>
                      <a:pt x="122498" y="96336"/>
                      <a:pt x="26162" y="0"/>
                    </a:cubicBez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23" name="Graphic 6" descr="A desktop with a ruler and various office supplies">
              <a:extLst>
                <a:ext uri="{FF2B5EF4-FFF2-40B4-BE49-F238E27FC236}">
                  <a16:creationId xmlns:a16="http://schemas.microsoft.com/office/drawing/2014/main" id="{A535B481-2780-4B7B-980B-41D4CF5A4832}"/>
                </a:ext>
              </a:extLst>
            </p:cNvPr>
            <p:cNvGrpSpPr/>
            <p:nvPr/>
          </p:nvGrpSpPr>
          <p:grpSpPr>
            <a:xfrm>
              <a:off x="4694485" y="1412506"/>
              <a:ext cx="283679" cy="283686"/>
              <a:chOff x="4694485" y="1412506"/>
              <a:chExt cx="283679" cy="283686"/>
            </a:xfrm>
          </p:grpSpPr>
          <p:sp>
            <p:nvSpPr>
              <p:cNvPr id="132" name="Freeform: Shape 131">
                <a:extLst>
                  <a:ext uri="{FF2B5EF4-FFF2-40B4-BE49-F238E27FC236}">
                    <a16:creationId xmlns:a16="http://schemas.microsoft.com/office/drawing/2014/main" id="{FBCA0A1B-1448-49AE-A80B-F6DA3AF3464F}"/>
                  </a:ext>
                </a:extLst>
              </p:cNvPr>
              <p:cNvSpPr/>
              <p:nvPr/>
            </p:nvSpPr>
            <p:spPr>
              <a:xfrm>
                <a:off x="4712877" y="1412506"/>
                <a:ext cx="265287" cy="266957"/>
              </a:xfrm>
              <a:custGeom>
                <a:avLst/>
                <a:gdLst>
                  <a:gd name="connsiteX0" fmla="*/ 265287 w 265287"/>
                  <a:gd name="connsiteY0" fmla="*/ 246685 h 266957"/>
                  <a:gd name="connsiteX1" fmla="*/ 265287 w 265287"/>
                  <a:gd name="connsiteY1" fmla="*/ 86341 h 266957"/>
                  <a:gd name="connsiteX2" fmla="*/ 178947 w 265287"/>
                  <a:gd name="connsiteY2" fmla="*/ 0 h 266957"/>
                  <a:gd name="connsiteX3" fmla="*/ 18602 w 265287"/>
                  <a:gd name="connsiteY3" fmla="*/ 0 h 266957"/>
                  <a:gd name="connsiteX4" fmla="*/ 86 w 265287"/>
                  <a:gd name="connsiteY4" fmla="*/ 28092 h 266957"/>
                  <a:gd name="connsiteX5" fmla="*/ 241386 w 265287"/>
                  <a:gd name="connsiteY5" fmla="*/ 266852 h 266957"/>
                  <a:gd name="connsiteX6" fmla="*/ 265287 w 265287"/>
                  <a:gd name="connsiteY6" fmla="*/ 246685 h 26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287" h="266957">
                    <a:moveTo>
                      <a:pt x="265287" y="246685"/>
                    </a:moveTo>
                    <a:lnTo>
                      <a:pt x="265287" y="86341"/>
                    </a:lnTo>
                    <a:cubicBezTo>
                      <a:pt x="217605" y="86341"/>
                      <a:pt x="178947" y="47688"/>
                      <a:pt x="178947" y="0"/>
                    </a:cubicBezTo>
                    <a:lnTo>
                      <a:pt x="18602" y="0"/>
                    </a:lnTo>
                    <a:cubicBezTo>
                      <a:pt x="4321" y="5232"/>
                      <a:pt x="-740" y="19799"/>
                      <a:pt x="86" y="28092"/>
                    </a:cubicBezTo>
                    <a:cubicBezTo>
                      <a:pt x="12786" y="155937"/>
                      <a:pt x="119466" y="251187"/>
                      <a:pt x="241386" y="266852"/>
                    </a:cubicBezTo>
                    <a:cubicBezTo>
                      <a:pt x="251298" y="268129"/>
                      <a:pt x="260017" y="257543"/>
                      <a:pt x="265287" y="246685"/>
                    </a:cubicBezTo>
                    <a:close/>
                  </a:path>
                </a:pathLst>
              </a:custGeom>
              <a:solidFill>
                <a:srgbClr val="FFFFFF"/>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33" name="Freeform: Shape 132">
                <a:extLst>
                  <a:ext uri="{FF2B5EF4-FFF2-40B4-BE49-F238E27FC236}">
                    <a16:creationId xmlns:a16="http://schemas.microsoft.com/office/drawing/2014/main" id="{1682F9C2-A428-4DF1-A6E5-18E0219EAA71}"/>
                  </a:ext>
                </a:extLst>
              </p:cNvPr>
              <p:cNvSpPr/>
              <p:nvPr/>
            </p:nvSpPr>
            <p:spPr>
              <a:xfrm>
                <a:off x="4694485" y="1412513"/>
                <a:ext cx="283679" cy="283679"/>
              </a:xfrm>
              <a:custGeom>
                <a:avLst/>
                <a:gdLst>
                  <a:gd name="connsiteX0" fmla="*/ 37002 w 283679"/>
                  <a:gd name="connsiteY0" fmla="*/ 0 h 283679"/>
                  <a:gd name="connsiteX1" fmla="*/ 0 w 283679"/>
                  <a:gd name="connsiteY1" fmla="*/ 0 h 283679"/>
                  <a:gd name="connsiteX2" fmla="*/ 283680 w 283679"/>
                  <a:gd name="connsiteY2" fmla="*/ 283680 h 283679"/>
                  <a:gd name="connsiteX3" fmla="*/ 283680 w 283679"/>
                  <a:gd name="connsiteY3" fmla="*/ 246679 h 283679"/>
                  <a:gd name="connsiteX4" fmla="*/ 37002 w 283679"/>
                  <a:gd name="connsiteY4" fmla="*/ 0 h 2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679" h="283679">
                    <a:moveTo>
                      <a:pt x="37002" y="0"/>
                    </a:moveTo>
                    <a:lnTo>
                      <a:pt x="0" y="0"/>
                    </a:lnTo>
                    <a:cubicBezTo>
                      <a:pt x="0" y="156667"/>
                      <a:pt x="127013" y="283680"/>
                      <a:pt x="283680" y="283680"/>
                    </a:cubicBezTo>
                    <a:lnTo>
                      <a:pt x="283680" y="246679"/>
                    </a:lnTo>
                    <a:cubicBezTo>
                      <a:pt x="147447" y="246679"/>
                      <a:pt x="37002" y="136233"/>
                      <a:pt x="37002" y="0"/>
                    </a:cubicBez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24" name="Graphic 6" descr="A desktop with a ruler and various office supplies">
              <a:extLst>
                <a:ext uri="{FF2B5EF4-FFF2-40B4-BE49-F238E27FC236}">
                  <a16:creationId xmlns:a16="http://schemas.microsoft.com/office/drawing/2014/main" id="{925B4C41-3C07-4A5A-BB93-5E59F48E4047}"/>
                </a:ext>
              </a:extLst>
            </p:cNvPr>
            <p:cNvGrpSpPr/>
            <p:nvPr/>
          </p:nvGrpSpPr>
          <p:grpSpPr>
            <a:xfrm>
              <a:off x="2748622" y="4239907"/>
              <a:ext cx="283679" cy="283679"/>
              <a:chOff x="2748622" y="4239907"/>
              <a:chExt cx="283679" cy="283679"/>
            </a:xfrm>
          </p:grpSpPr>
          <p:sp>
            <p:nvSpPr>
              <p:cNvPr id="130" name="Freeform: Shape 129">
                <a:extLst>
                  <a:ext uri="{FF2B5EF4-FFF2-40B4-BE49-F238E27FC236}">
                    <a16:creationId xmlns:a16="http://schemas.microsoft.com/office/drawing/2014/main" id="{89E6B293-1CFB-4F09-B6F1-B18B6C0329D4}"/>
                  </a:ext>
                </a:extLst>
              </p:cNvPr>
              <p:cNvSpPr/>
              <p:nvPr/>
            </p:nvSpPr>
            <p:spPr>
              <a:xfrm>
                <a:off x="2748622" y="4239907"/>
                <a:ext cx="265961" cy="266946"/>
              </a:xfrm>
              <a:custGeom>
                <a:avLst/>
                <a:gdLst>
                  <a:gd name="connsiteX0" fmla="*/ 246685 w 265961"/>
                  <a:gd name="connsiteY0" fmla="*/ 0 h 266946"/>
                  <a:gd name="connsiteX1" fmla="*/ 86341 w 265961"/>
                  <a:gd name="connsiteY1" fmla="*/ 0 h 266946"/>
                  <a:gd name="connsiteX2" fmla="*/ 0 w 265961"/>
                  <a:gd name="connsiteY2" fmla="*/ 86341 h 266946"/>
                  <a:gd name="connsiteX3" fmla="*/ 0 w 265961"/>
                  <a:gd name="connsiteY3" fmla="*/ 246685 h 266946"/>
                  <a:gd name="connsiteX4" fmla="*/ 25476 w 265961"/>
                  <a:gd name="connsiteY4" fmla="*/ 266903 h 266946"/>
                  <a:gd name="connsiteX5" fmla="*/ 265932 w 265961"/>
                  <a:gd name="connsiteY5" fmla="*/ 26448 h 266946"/>
                  <a:gd name="connsiteX6" fmla="*/ 246685 w 265961"/>
                  <a:gd name="connsiteY6" fmla="*/ 0 h 2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61" h="266946">
                    <a:moveTo>
                      <a:pt x="246685" y="0"/>
                    </a:moveTo>
                    <a:lnTo>
                      <a:pt x="86341" y="0"/>
                    </a:lnTo>
                    <a:cubicBezTo>
                      <a:pt x="86341" y="47682"/>
                      <a:pt x="47689" y="86341"/>
                      <a:pt x="0" y="86341"/>
                    </a:cubicBezTo>
                    <a:lnTo>
                      <a:pt x="0" y="246685"/>
                    </a:lnTo>
                    <a:cubicBezTo>
                      <a:pt x="4312" y="261823"/>
                      <a:pt x="18466" y="267506"/>
                      <a:pt x="25476" y="266903"/>
                    </a:cubicBezTo>
                    <a:cubicBezTo>
                      <a:pt x="145129" y="256680"/>
                      <a:pt x="256191" y="151759"/>
                      <a:pt x="265932" y="26448"/>
                    </a:cubicBezTo>
                    <a:cubicBezTo>
                      <a:pt x="266446" y="19818"/>
                      <a:pt x="260433" y="5277"/>
                      <a:pt x="246685" y="0"/>
                    </a:cubicBezTo>
                    <a:close/>
                  </a:path>
                </a:pathLst>
              </a:custGeom>
              <a:solidFill>
                <a:srgbClr val="FFFFFF"/>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31" name="Freeform: Shape 130">
                <a:extLst>
                  <a:ext uri="{FF2B5EF4-FFF2-40B4-BE49-F238E27FC236}">
                    <a16:creationId xmlns:a16="http://schemas.microsoft.com/office/drawing/2014/main" id="{13023065-DF97-472E-BA84-02A5C636CCD3}"/>
                  </a:ext>
                </a:extLst>
              </p:cNvPr>
              <p:cNvSpPr/>
              <p:nvPr/>
            </p:nvSpPr>
            <p:spPr>
              <a:xfrm>
                <a:off x="2748622" y="4239907"/>
                <a:ext cx="283679" cy="283679"/>
              </a:xfrm>
              <a:custGeom>
                <a:avLst/>
                <a:gdLst>
                  <a:gd name="connsiteX0" fmla="*/ 0 w 283679"/>
                  <a:gd name="connsiteY0" fmla="*/ 246678 h 283679"/>
                  <a:gd name="connsiteX1" fmla="*/ 0 w 283679"/>
                  <a:gd name="connsiteY1" fmla="*/ 283680 h 283679"/>
                  <a:gd name="connsiteX2" fmla="*/ 283680 w 283679"/>
                  <a:gd name="connsiteY2" fmla="*/ 0 h 283679"/>
                  <a:gd name="connsiteX3" fmla="*/ 246678 w 283679"/>
                  <a:gd name="connsiteY3" fmla="*/ 0 h 283679"/>
                  <a:gd name="connsiteX4" fmla="*/ 0 w 283679"/>
                  <a:gd name="connsiteY4" fmla="*/ 246678 h 2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679" h="283679">
                    <a:moveTo>
                      <a:pt x="0" y="246678"/>
                    </a:moveTo>
                    <a:lnTo>
                      <a:pt x="0" y="283680"/>
                    </a:lnTo>
                    <a:cubicBezTo>
                      <a:pt x="156667" y="283680"/>
                      <a:pt x="283680" y="156667"/>
                      <a:pt x="283680" y="0"/>
                    </a:cubicBezTo>
                    <a:lnTo>
                      <a:pt x="246678" y="0"/>
                    </a:lnTo>
                    <a:cubicBezTo>
                      <a:pt x="246685" y="136239"/>
                      <a:pt x="136239" y="246678"/>
                      <a:pt x="0" y="246678"/>
                    </a:cubicBez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nvGrpSpPr>
            <p:cNvPr id="125" name="Graphic 6" descr="A desktop with a ruler and various office supplies">
              <a:extLst>
                <a:ext uri="{FF2B5EF4-FFF2-40B4-BE49-F238E27FC236}">
                  <a16:creationId xmlns:a16="http://schemas.microsoft.com/office/drawing/2014/main" id="{93557590-4124-45D8-9AFE-CF6E289B83A9}"/>
                </a:ext>
              </a:extLst>
            </p:cNvPr>
            <p:cNvGrpSpPr/>
            <p:nvPr/>
          </p:nvGrpSpPr>
          <p:grpSpPr>
            <a:xfrm>
              <a:off x="4388351" y="676160"/>
              <a:ext cx="601713" cy="601738"/>
              <a:chOff x="4388351" y="676160"/>
              <a:chExt cx="601713" cy="601738"/>
            </a:xfrm>
          </p:grpSpPr>
          <p:sp>
            <p:nvSpPr>
              <p:cNvPr id="126" name="Freeform: Shape 125">
                <a:extLst>
                  <a:ext uri="{FF2B5EF4-FFF2-40B4-BE49-F238E27FC236}">
                    <a16:creationId xmlns:a16="http://schemas.microsoft.com/office/drawing/2014/main" id="{FE529A97-2C9B-4DB9-8EF5-8E297FC801D4}"/>
                  </a:ext>
                </a:extLst>
              </p:cNvPr>
              <p:cNvSpPr/>
              <p:nvPr/>
            </p:nvSpPr>
            <p:spPr>
              <a:xfrm>
                <a:off x="4388351" y="676160"/>
                <a:ext cx="601713" cy="601738"/>
              </a:xfrm>
              <a:custGeom>
                <a:avLst/>
                <a:gdLst>
                  <a:gd name="connsiteX0" fmla="*/ 601713 w 601713"/>
                  <a:gd name="connsiteY0" fmla="*/ 366262 h 601738"/>
                  <a:gd name="connsiteX1" fmla="*/ 528860 w 601713"/>
                  <a:gd name="connsiteY1" fmla="*/ 293408 h 601738"/>
                  <a:gd name="connsiteX2" fmla="*/ 388068 w 601713"/>
                  <a:gd name="connsiteY2" fmla="*/ 213658 h 601738"/>
                  <a:gd name="connsiteX3" fmla="*/ 308324 w 601713"/>
                  <a:gd name="connsiteY3" fmla="*/ 72854 h 601738"/>
                  <a:gd name="connsiteX4" fmla="*/ 235471 w 601713"/>
                  <a:gd name="connsiteY4" fmla="*/ 0 h 601738"/>
                  <a:gd name="connsiteX5" fmla="*/ 189179 w 601713"/>
                  <a:gd name="connsiteY5" fmla="*/ 46292 h 601738"/>
                  <a:gd name="connsiteX6" fmla="*/ 155067 w 601713"/>
                  <a:gd name="connsiteY6" fmla="*/ 108699 h 601738"/>
                  <a:gd name="connsiteX7" fmla="*/ 93294 w 601713"/>
                  <a:gd name="connsiteY7" fmla="*/ 142176 h 601738"/>
                  <a:gd name="connsiteX8" fmla="*/ 0 w 601713"/>
                  <a:gd name="connsiteY8" fmla="*/ 235477 h 601738"/>
                  <a:gd name="connsiteX9" fmla="*/ 72854 w 601713"/>
                  <a:gd name="connsiteY9" fmla="*/ 308331 h 601738"/>
                  <a:gd name="connsiteX10" fmla="*/ 213646 w 601713"/>
                  <a:gd name="connsiteY10" fmla="*/ 388080 h 601738"/>
                  <a:gd name="connsiteX11" fmla="*/ 293389 w 601713"/>
                  <a:gd name="connsiteY11" fmla="*/ 528885 h 601738"/>
                  <a:gd name="connsiteX12" fmla="*/ 366243 w 601713"/>
                  <a:gd name="connsiteY12" fmla="*/ 601739 h 601738"/>
                  <a:gd name="connsiteX13" fmla="*/ 460508 w 601713"/>
                  <a:gd name="connsiteY13" fmla="*/ 507479 h 601738"/>
                  <a:gd name="connsiteX14" fmla="*/ 495433 w 601713"/>
                  <a:gd name="connsiteY14" fmla="*/ 445884 h 601738"/>
                  <a:gd name="connsiteX15" fmla="*/ 556070 w 601713"/>
                  <a:gd name="connsiteY15" fmla="*/ 411905 h 601738"/>
                  <a:gd name="connsiteX16" fmla="*/ 601713 w 601713"/>
                  <a:gd name="connsiteY16" fmla="*/ 366262 h 60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713" h="601738">
                    <a:moveTo>
                      <a:pt x="601713" y="366262"/>
                    </a:moveTo>
                    <a:lnTo>
                      <a:pt x="528860" y="293408"/>
                    </a:lnTo>
                    <a:cubicBezTo>
                      <a:pt x="483026" y="284963"/>
                      <a:pt x="431921" y="257518"/>
                      <a:pt x="388068" y="213658"/>
                    </a:cubicBezTo>
                    <a:cubicBezTo>
                      <a:pt x="344221" y="169805"/>
                      <a:pt x="316770" y="118694"/>
                      <a:pt x="308324" y="72854"/>
                    </a:cubicBezTo>
                    <a:lnTo>
                      <a:pt x="235471" y="0"/>
                    </a:lnTo>
                    <a:lnTo>
                      <a:pt x="189179" y="46292"/>
                    </a:lnTo>
                    <a:cubicBezTo>
                      <a:pt x="189179" y="46292"/>
                      <a:pt x="181102" y="82664"/>
                      <a:pt x="155067" y="108699"/>
                    </a:cubicBezTo>
                    <a:cubicBezTo>
                      <a:pt x="129032" y="134734"/>
                      <a:pt x="93294" y="142176"/>
                      <a:pt x="93294" y="142176"/>
                    </a:cubicBezTo>
                    <a:lnTo>
                      <a:pt x="0" y="235477"/>
                    </a:lnTo>
                    <a:lnTo>
                      <a:pt x="72854" y="308331"/>
                    </a:lnTo>
                    <a:cubicBezTo>
                      <a:pt x="118688" y="316776"/>
                      <a:pt x="169799" y="344234"/>
                      <a:pt x="213646" y="388080"/>
                    </a:cubicBezTo>
                    <a:cubicBezTo>
                      <a:pt x="257499" y="431940"/>
                      <a:pt x="284944" y="483045"/>
                      <a:pt x="293389" y="528885"/>
                    </a:cubicBezTo>
                    <a:lnTo>
                      <a:pt x="366243" y="601739"/>
                    </a:lnTo>
                    <a:lnTo>
                      <a:pt x="460508" y="507479"/>
                    </a:lnTo>
                    <a:cubicBezTo>
                      <a:pt x="460508" y="507479"/>
                      <a:pt x="459556" y="481762"/>
                      <a:pt x="495433" y="445884"/>
                    </a:cubicBezTo>
                    <a:cubicBezTo>
                      <a:pt x="531311" y="410007"/>
                      <a:pt x="556070" y="411905"/>
                      <a:pt x="556070" y="411905"/>
                    </a:cubicBezTo>
                    <a:lnTo>
                      <a:pt x="601713" y="366262"/>
                    </a:lnTo>
                    <a:close/>
                  </a:path>
                </a:pathLst>
              </a:custGeom>
              <a:solidFill>
                <a:srgbClr val="0070C0"/>
              </a:solidFill>
              <a:ln w="6350" cap="flat">
                <a:solidFill>
                  <a:schemeClr val="tx1"/>
                </a:solidFill>
                <a:prstDash val="solid"/>
                <a:miter/>
              </a:ln>
            </p:spPr>
            <p:txBody>
              <a:bodyPr rtlCol="0" anchor="ctr"/>
              <a:lstStyle/>
              <a:p>
                <a:endParaRPr lang="en-GB">
                  <a:ln>
                    <a:solidFill>
                      <a:schemeClr val="accent2">
                        <a:lumMod val="50000"/>
                      </a:schemeClr>
                    </a:solidFill>
                  </a:ln>
                  <a:solidFill>
                    <a:sysClr val="windowText" lastClr="000000"/>
                  </a:solidFill>
                </a:endParaRPr>
              </a:p>
            </p:txBody>
          </p:sp>
          <p:sp>
            <p:nvSpPr>
              <p:cNvPr id="127" name="Freeform: Shape 126">
                <a:extLst>
                  <a:ext uri="{FF2B5EF4-FFF2-40B4-BE49-F238E27FC236}">
                    <a16:creationId xmlns:a16="http://schemas.microsoft.com/office/drawing/2014/main" id="{90ACBAAE-8A55-4E02-BF3D-9514444BB511}"/>
                  </a:ext>
                </a:extLst>
              </p:cNvPr>
              <p:cNvSpPr/>
              <p:nvPr/>
            </p:nvSpPr>
            <p:spPr>
              <a:xfrm>
                <a:off x="4482109" y="800436"/>
                <a:ext cx="385165" cy="383711"/>
              </a:xfrm>
              <a:custGeom>
                <a:avLst/>
                <a:gdLst>
                  <a:gd name="connsiteX0" fmla="*/ 366236 w 385165"/>
                  <a:gd name="connsiteY0" fmla="*/ 383711 h 383711"/>
                  <a:gd name="connsiteX1" fmla="*/ 0 w 385165"/>
                  <a:gd name="connsiteY1" fmla="*/ 17443 h 383711"/>
                  <a:gd name="connsiteX2" fmla="*/ 17437 w 385165"/>
                  <a:gd name="connsiteY2" fmla="*/ 0 h 383711"/>
                  <a:gd name="connsiteX3" fmla="*/ 46711 w 385165"/>
                  <a:gd name="connsiteY3" fmla="*/ 298 h 383711"/>
                  <a:gd name="connsiteX4" fmla="*/ 385166 w 385165"/>
                  <a:gd name="connsiteY4" fmla="*/ 333038 h 383711"/>
                  <a:gd name="connsiteX5" fmla="*/ 383680 w 385165"/>
                  <a:gd name="connsiteY5" fmla="*/ 366268 h 38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165" h="383711">
                    <a:moveTo>
                      <a:pt x="366236" y="383711"/>
                    </a:moveTo>
                    <a:lnTo>
                      <a:pt x="0" y="17443"/>
                    </a:lnTo>
                    <a:lnTo>
                      <a:pt x="17437" y="0"/>
                    </a:lnTo>
                    <a:lnTo>
                      <a:pt x="46711" y="298"/>
                    </a:lnTo>
                    <a:lnTo>
                      <a:pt x="385166" y="333038"/>
                    </a:lnTo>
                    <a:lnTo>
                      <a:pt x="383680" y="366268"/>
                    </a:lnTo>
                    <a:close/>
                  </a:path>
                </a:pathLst>
              </a:custGeom>
              <a:solidFill>
                <a:srgbClr val="737373"/>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28" name="Freeform: Shape 127">
                <a:extLst>
                  <a:ext uri="{FF2B5EF4-FFF2-40B4-BE49-F238E27FC236}">
                    <a16:creationId xmlns:a16="http://schemas.microsoft.com/office/drawing/2014/main" id="{E790AA24-F7AA-44C7-8F13-3E4FFC8AAFED}"/>
                  </a:ext>
                </a:extLst>
              </p:cNvPr>
              <p:cNvSpPr/>
              <p:nvPr/>
            </p:nvSpPr>
            <p:spPr>
              <a:xfrm rot="-2700000">
                <a:off x="4666487" y="685242"/>
                <a:ext cx="111003" cy="517951"/>
              </a:xfrm>
              <a:custGeom>
                <a:avLst/>
                <a:gdLst>
                  <a:gd name="connsiteX0" fmla="*/ 0 w 111003"/>
                  <a:gd name="connsiteY0" fmla="*/ 0 h 517951"/>
                  <a:gd name="connsiteX1" fmla="*/ 111003 w 111003"/>
                  <a:gd name="connsiteY1" fmla="*/ 0 h 517951"/>
                  <a:gd name="connsiteX2" fmla="*/ 111003 w 111003"/>
                  <a:gd name="connsiteY2" fmla="*/ 517952 h 517951"/>
                  <a:gd name="connsiteX3" fmla="*/ 0 w 111003"/>
                  <a:gd name="connsiteY3" fmla="*/ 517952 h 517951"/>
                </a:gdLst>
                <a:ahLst/>
                <a:cxnLst>
                  <a:cxn ang="0">
                    <a:pos x="connsiteX0" y="connsiteY0"/>
                  </a:cxn>
                  <a:cxn ang="0">
                    <a:pos x="connsiteX1" y="connsiteY1"/>
                  </a:cxn>
                  <a:cxn ang="0">
                    <a:pos x="connsiteX2" y="connsiteY2"/>
                  </a:cxn>
                  <a:cxn ang="0">
                    <a:pos x="connsiteX3" y="connsiteY3"/>
                  </a:cxn>
                </a:cxnLst>
                <a:rect l="l" t="t" r="r" b="b"/>
                <a:pathLst>
                  <a:path w="111003" h="517951">
                    <a:moveTo>
                      <a:pt x="0" y="0"/>
                    </a:moveTo>
                    <a:lnTo>
                      <a:pt x="111003" y="0"/>
                    </a:lnTo>
                    <a:lnTo>
                      <a:pt x="111003" y="517952"/>
                    </a:lnTo>
                    <a:lnTo>
                      <a:pt x="0" y="517952"/>
                    </a:lnTo>
                    <a:close/>
                  </a:path>
                </a:pathLst>
              </a:custGeom>
              <a:solidFill>
                <a:srgbClr val="D2D2D2"/>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sp>
            <p:nvSpPr>
              <p:cNvPr id="129" name="Freeform: Shape 128">
                <a:extLst>
                  <a:ext uri="{FF2B5EF4-FFF2-40B4-BE49-F238E27FC236}">
                    <a16:creationId xmlns:a16="http://schemas.microsoft.com/office/drawing/2014/main" id="{9C33137E-2623-4C7D-866C-611D960D83E1}"/>
                  </a:ext>
                </a:extLst>
              </p:cNvPr>
              <p:cNvSpPr/>
              <p:nvPr/>
            </p:nvSpPr>
            <p:spPr>
              <a:xfrm rot="-3534451">
                <a:off x="4682941" y="905905"/>
                <a:ext cx="86331" cy="86318"/>
              </a:xfrm>
              <a:custGeom>
                <a:avLst/>
                <a:gdLst>
                  <a:gd name="connsiteX0" fmla="*/ 86331 w 86331"/>
                  <a:gd name="connsiteY0" fmla="*/ 43159 h 86318"/>
                  <a:gd name="connsiteX1" fmla="*/ 43166 w 86331"/>
                  <a:gd name="connsiteY1" fmla="*/ 86318 h 86318"/>
                  <a:gd name="connsiteX2" fmla="*/ 0 w 86331"/>
                  <a:gd name="connsiteY2" fmla="*/ 43159 h 86318"/>
                  <a:gd name="connsiteX3" fmla="*/ 43166 w 86331"/>
                  <a:gd name="connsiteY3" fmla="*/ 0 h 86318"/>
                  <a:gd name="connsiteX4" fmla="*/ 86331 w 86331"/>
                  <a:gd name="connsiteY4" fmla="*/ 43159 h 86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31" h="86318">
                    <a:moveTo>
                      <a:pt x="86331" y="43159"/>
                    </a:moveTo>
                    <a:cubicBezTo>
                      <a:pt x="86331" y="66995"/>
                      <a:pt x="67005" y="86318"/>
                      <a:pt x="43166" y="86318"/>
                    </a:cubicBezTo>
                    <a:cubicBezTo>
                      <a:pt x="19326" y="86318"/>
                      <a:pt x="0" y="66995"/>
                      <a:pt x="0" y="43159"/>
                    </a:cubicBezTo>
                    <a:cubicBezTo>
                      <a:pt x="0" y="19323"/>
                      <a:pt x="19326" y="0"/>
                      <a:pt x="43166" y="0"/>
                    </a:cubicBezTo>
                    <a:cubicBezTo>
                      <a:pt x="67005" y="0"/>
                      <a:pt x="86331" y="19323"/>
                      <a:pt x="86331" y="43159"/>
                    </a:cubicBezTo>
                    <a:close/>
                  </a:path>
                </a:pathLst>
              </a:custGeom>
              <a:solidFill>
                <a:srgbClr val="505050"/>
              </a:solidFill>
              <a:ln w="6350" cap="flat">
                <a:solidFill>
                  <a:schemeClr val="tx1"/>
                </a:solidFill>
                <a:prstDash val="solid"/>
                <a:miter/>
              </a:ln>
            </p:spPr>
            <p:txBody>
              <a:bodyPr rtlCol="0" anchor="ctr"/>
              <a:lstStyle/>
              <a:p>
                <a:endParaRPr lang="en-GB">
                  <a:ln>
                    <a:solidFill>
                      <a:schemeClr val="accent2">
                        <a:lumMod val="50000"/>
                      </a:schemeClr>
                    </a:solidFill>
                  </a:ln>
                </a:endParaRPr>
              </a:p>
            </p:txBody>
          </p:sp>
        </p:grpSp>
      </p:grpSp>
      <p:sp>
        <p:nvSpPr>
          <p:cNvPr id="109" name="Rectangle 108">
            <a:extLst>
              <a:ext uri="{FF2B5EF4-FFF2-40B4-BE49-F238E27FC236}">
                <a16:creationId xmlns:a16="http://schemas.microsoft.com/office/drawing/2014/main" id="{1E75AED6-4D2E-4283-8DB6-183DD02B9941}"/>
              </a:ext>
            </a:extLst>
          </p:cNvPr>
          <p:cNvSpPr/>
          <p:nvPr/>
        </p:nvSpPr>
        <p:spPr>
          <a:xfrm>
            <a:off x="4574398" y="-71022"/>
            <a:ext cx="139156" cy="692902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4" name="TextBox 213">
            <a:extLst>
              <a:ext uri="{FF2B5EF4-FFF2-40B4-BE49-F238E27FC236}">
                <a16:creationId xmlns:a16="http://schemas.microsoft.com/office/drawing/2014/main" id="{F8411D94-775A-4B2F-B481-70C25DB1A54D}"/>
              </a:ext>
            </a:extLst>
          </p:cNvPr>
          <p:cNvSpPr txBox="1"/>
          <p:nvPr/>
        </p:nvSpPr>
        <p:spPr>
          <a:xfrm>
            <a:off x="4736936" y="325076"/>
            <a:ext cx="7111427" cy="6186309"/>
          </a:xfrm>
          <a:prstGeom prst="rect">
            <a:avLst/>
          </a:prstGeom>
          <a:noFill/>
        </p:spPr>
        <p:txBody>
          <a:bodyPr wrap="square" rtlCol="0">
            <a:spAutoFit/>
          </a:bodyPr>
          <a:lstStyle/>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Education is perhaps the most influential topic as it affects all parts of life. </a:t>
            </a:r>
          </a:p>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Transparency in education is the first important point that we as young people must address as such vital information was unclear to us for the longest time. </a:t>
            </a:r>
          </a:p>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Furthermore, I believe that education is a right and it must be free. However we must also teach young people to not take such privileges for granted. Speaking from experience, I’ve observed people say things like “Why must I spend a penny on my notebook, when education in Scotland is free”, such entitlement is a bad lesson to teach young people as everyone should be encouraged to invest in their education if they can afford it. Therefore I think that basic necessities such as notebooks, folders and basic equipment should not be free. </a:t>
            </a:r>
          </a:p>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I also believe that it is vital to help young people living in poverty have the same access to education and provide a more inclusive education for them as they are more likely to experience bullying and social pressure due to their financial status. </a:t>
            </a:r>
          </a:p>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Scotland having the first LGBT inclusive educational system truly makes me smile however like many other systems – it is flawed. I believe that more emphasis should be put on online safety, the dangers of predatory behaviours in the gay community and sexual safety when it comes to same sex-relations. I also believe that it will be beneficial for such lessons to be taught by actual LGBT people who could share their own experiences.</a:t>
            </a:r>
          </a:p>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Personally in recent years I have noticed a resurgence of hatred and bigotry even in progressive societies like Scotland, not long ago two men were brutally assaulted in Edinburgh simply because of their sexuality. Instances like this are what keeps me up at night. Hateful behaviours like homophobia aren’t natural, they are taught, the seed of bigotry takes roots at playgrounds and schools. The work in our schools is VITAL to prevent such incidents. My campaign will greatly emphasise a combination of educational methods which would help better teach the young people the importance of tolerance and how to eradicate bigotry.</a:t>
            </a:r>
          </a:p>
          <a:p>
            <a:pPr marL="285750" indent="-285750">
              <a:buFont typeface="Arial" panose="020B0604020202020204" pitchFamily="34" charset="0"/>
              <a:buChar char="•"/>
            </a:pPr>
            <a:endParaRPr lang="en-GB"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6605628"/>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AB0E9-A649-4579-8381-D4623C7E372C}"/>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a:extLst>
              <a:ext uri="{FF2B5EF4-FFF2-40B4-BE49-F238E27FC236}">
                <a16:creationId xmlns:a16="http://schemas.microsoft.com/office/drawing/2014/main" id="{27F59649-6955-4A43-BB0A-D3FB21A811AF}"/>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B3EC873A-6A29-4D98-B6B4-89FA5E676711}"/>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031A2E56-8D8B-4BE1-BCE7-A109787E86D0}"/>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52" name="Picture 4" descr="Poverty Icons - Download Free Vector Icons | Noun Project">
            <a:extLst>
              <a:ext uri="{FF2B5EF4-FFF2-40B4-BE49-F238E27FC236}">
                <a16:creationId xmlns:a16="http://schemas.microsoft.com/office/drawing/2014/main" id="{EAC00467-AC34-4937-B8AA-F52D3F6F451D}"/>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5729" y="1612023"/>
            <a:ext cx="3420000" cy="3420000"/>
          </a:xfrm>
          <a:prstGeom prst="rect">
            <a:avLst/>
          </a:prstGeom>
          <a:noFill/>
          <a:effectLst>
            <a:softEdge rad="0"/>
          </a:effectLst>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556C0CC-7C8C-4E5B-A2F3-ACF49BD0B335}"/>
              </a:ext>
            </a:extLst>
          </p:cNvPr>
          <p:cNvSpPr/>
          <p:nvPr/>
        </p:nvSpPr>
        <p:spPr>
          <a:xfrm>
            <a:off x="4459397" y="1523670"/>
            <a:ext cx="5524168" cy="3704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Rectangle 7">
            <a:extLst>
              <a:ext uri="{FF2B5EF4-FFF2-40B4-BE49-F238E27FC236}">
                <a16:creationId xmlns:a16="http://schemas.microsoft.com/office/drawing/2014/main" id="{3F232FB9-3F28-4C1A-BA06-BC29FC7650B4}"/>
              </a:ext>
            </a:extLst>
          </p:cNvPr>
          <p:cNvSpPr/>
          <p:nvPr/>
        </p:nvSpPr>
        <p:spPr>
          <a:xfrm>
            <a:off x="4670734" y="1311442"/>
            <a:ext cx="7521266" cy="4022888"/>
          </a:xfrm>
          <a:prstGeom prst="rect">
            <a:avLst/>
          </a:prstGeom>
          <a:solidFill>
            <a:srgbClr val="21212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9" name="TextBox 8">
            <a:extLst>
              <a:ext uri="{FF2B5EF4-FFF2-40B4-BE49-F238E27FC236}">
                <a16:creationId xmlns:a16="http://schemas.microsoft.com/office/drawing/2014/main" id="{986C1E0D-45D7-4FCA-A3A7-2156F78802CA}"/>
              </a:ext>
            </a:extLst>
          </p:cNvPr>
          <p:cNvSpPr txBox="1"/>
          <p:nvPr/>
        </p:nvSpPr>
        <p:spPr>
          <a:xfrm>
            <a:off x="5009967" y="1606308"/>
            <a:ext cx="5524168" cy="4924425"/>
          </a:xfrm>
          <a:prstGeom prst="rect">
            <a:avLst/>
          </a:prstGeom>
          <a:noFill/>
        </p:spPr>
        <p:txBody>
          <a:bodyPr wrap="square" lIns="0" tIns="0" rIns="0" bIns="0" numCol="1" rtlCol="0">
            <a:spAutoFit/>
          </a:bodyPr>
          <a:lstStyle/>
          <a:p>
            <a:r>
              <a:rPr lang="de-DE" altLang="de-DE" sz="8000" dirty="0">
                <a:solidFill>
                  <a:schemeClr val="bg1"/>
                </a:solidFill>
                <a:latin typeface="Franklin Gothic Demi" panose="020B0703020102020204" pitchFamily="34" charset="0"/>
              </a:rPr>
              <a:t>Poverty and Income Inequality</a:t>
            </a:r>
          </a:p>
          <a:p>
            <a:endParaRPr lang="de-DE" altLang="de-DE" sz="8000" dirty="0">
              <a:solidFill>
                <a:schemeClr val="bg1"/>
              </a:solidFill>
              <a:latin typeface="Franklin Gothic Demi" panose="020B0703020102020204" pitchFamily="34" charset="0"/>
            </a:endParaRPr>
          </a:p>
        </p:txBody>
      </p:sp>
    </p:spTree>
    <p:extLst>
      <p:ext uri="{BB962C8B-B14F-4D97-AF65-F5344CB8AC3E}">
        <p14:creationId xmlns:p14="http://schemas.microsoft.com/office/powerpoint/2010/main" val="110080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10" presetClass="entr" presetSubtype="0"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750"/>
                                        <p:tgtEl>
                                          <p:spTgt spid="9"/>
                                        </p:tgtEl>
                                      </p:cBhvr>
                                    </p:animEffect>
                                  </p:childTnLst>
                                </p:cTn>
                              </p:par>
                              <p:par>
                                <p:cTn id="13" presetID="2" presetClass="entr" presetSubtype="2" fill="hold" nodeType="withEffect">
                                  <p:stCondLst>
                                    <p:cond delay="0"/>
                                  </p:stCondLst>
                                  <p:childTnLst>
                                    <p:set>
                                      <p:cBhvr>
                                        <p:cTn id="14" dur="1" fill="hold">
                                          <p:stCondLst>
                                            <p:cond delay="0"/>
                                          </p:stCondLst>
                                        </p:cTn>
                                        <p:tgtEl>
                                          <p:spTgt spid="2052"/>
                                        </p:tgtEl>
                                        <p:attrNameLst>
                                          <p:attrName>style.visibility</p:attrName>
                                        </p:attrNameLst>
                                      </p:cBhvr>
                                      <p:to>
                                        <p:strVal val="visible"/>
                                      </p:to>
                                    </p:set>
                                    <p:anim calcmode="lin" valueType="num">
                                      <p:cBhvr additive="base">
                                        <p:cTn id="15" dur="750" fill="hold"/>
                                        <p:tgtEl>
                                          <p:spTgt spid="2052"/>
                                        </p:tgtEl>
                                        <p:attrNameLst>
                                          <p:attrName>ppt_x</p:attrName>
                                        </p:attrNameLst>
                                      </p:cBhvr>
                                      <p:tavLst>
                                        <p:tav tm="0">
                                          <p:val>
                                            <p:strVal val="1+#ppt_w/2"/>
                                          </p:val>
                                        </p:tav>
                                        <p:tav tm="100000">
                                          <p:val>
                                            <p:strVal val="#ppt_x"/>
                                          </p:val>
                                        </p:tav>
                                      </p:tavLst>
                                    </p:anim>
                                    <p:anim calcmode="lin" valueType="num">
                                      <p:cBhvr additive="base">
                                        <p:cTn id="16" dur="750" fill="hold"/>
                                        <p:tgtEl>
                                          <p:spTgt spid="20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E3617E7-61D9-41FE-98BB-8A4DDF4FA26F}"/>
              </a:ext>
            </a:extLst>
          </p:cNvPr>
          <p:cNvSpPr/>
          <p:nvPr/>
        </p:nvSpPr>
        <p:spPr>
          <a:xfrm>
            <a:off x="0" y="0"/>
            <a:ext cx="12192000" cy="6858000"/>
          </a:xfrm>
          <a:prstGeom prst="rect">
            <a:avLst/>
          </a:prstGeom>
          <a:solidFill>
            <a:srgbClr val="2121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0E5E9D7A-405D-44B5-A6E6-3DC6EE661617}"/>
              </a:ext>
            </a:extLst>
          </p:cNvPr>
          <p:cNvSpPr txBox="1"/>
          <p:nvPr/>
        </p:nvSpPr>
        <p:spPr>
          <a:xfrm>
            <a:off x="4837857" y="47572"/>
            <a:ext cx="6526004" cy="7571303"/>
          </a:xfrm>
          <a:prstGeom prst="rect">
            <a:avLst/>
          </a:prstGeom>
          <a:noFill/>
        </p:spPr>
        <p:txBody>
          <a:bodyPr wrap="square" rtlCol="0">
            <a:spAutoFit/>
          </a:bodyPr>
          <a:lstStyle/>
          <a:p>
            <a:pPr marL="285750" indent="-285750">
              <a:buFont typeface="Arial" panose="020B0604020202020204" pitchFamily="34" charset="0"/>
              <a:buChar char="•"/>
            </a:pPr>
            <a:endParaRPr lang="en-GB" sz="14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b="0" i="0" dirty="0">
                <a:solidFill>
                  <a:schemeClr val="bg1"/>
                </a:solidFill>
                <a:effectLst/>
                <a:latin typeface="Arial" panose="020B0604020202020204" pitchFamily="34" charset="0"/>
              </a:rPr>
              <a:t>Fife has some of the poorest areas in Scotland</a:t>
            </a:r>
            <a:r>
              <a:rPr lang="en-GB" sz="1400" dirty="0">
                <a:solidFill>
                  <a:schemeClr val="bg1"/>
                </a:solidFill>
                <a:latin typeface="Arial" panose="020B0604020202020204" pitchFamily="34" charset="0"/>
              </a:rPr>
              <a:t>, scoring </a:t>
            </a:r>
            <a:r>
              <a:rPr lang="en-GB" sz="1400" dirty="0">
                <a:solidFill>
                  <a:schemeClr val="bg1"/>
                </a:solidFill>
                <a:effectLst/>
                <a:latin typeface="Arial" panose="020B0604020202020204" pitchFamily="34" charset="0"/>
                <a:ea typeface="Calibri" panose="020F0502020204030204" pitchFamily="34" charset="0"/>
                <a:cs typeface="Arial" panose="020B0604020202020204" pitchFamily="34" charset="0"/>
              </a:rPr>
              <a:t>20% on the Scottish index of multiple deprivation as of 2020. Overall </a:t>
            </a:r>
            <a:r>
              <a:rPr lang="en-GB" sz="1400" b="1" i="0" dirty="0">
                <a:solidFill>
                  <a:schemeClr val="bg1"/>
                </a:solidFill>
                <a:effectLst/>
                <a:latin typeface="Arial" panose="020B0604020202020204" pitchFamily="34" charset="0"/>
                <a:cs typeface="Arial" panose="020B0604020202020204" pitchFamily="34" charset="0"/>
              </a:rPr>
              <a:t>26 per cent of children</a:t>
            </a:r>
            <a:r>
              <a:rPr lang="en-GB" sz="1400" b="0" i="0" dirty="0">
                <a:solidFill>
                  <a:schemeClr val="bg1"/>
                </a:solidFill>
                <a:effectLst/>
                <a:latin typeface="Arial" panose="020B0604020202020204" pitchFamily="34" charset="0"/>
                <a:cs typeface="Arial" panose="020B0604020202020204" pitchFamily="34" charset="0"/>
              </a:rPr>
              <a:t> in Scotland were in poverty in 2019-20. This is a shocking statistic as It shows that ¼ of the overall youth population lives bellow the poverty line. With such alarming numbers it is vital that we take action to help support those of use who struggle financiall</a:t>
            </a:r>
            <a:r>
              <a:rPr lang="en-GB" sz="1400" dirty="0">
                <a:solidFill>
                  <a:schemeClr val="bg1"/>
                </a:solidFill>
                <a:latin typeface="Arial" panose="020B0604020202020204" pitchFamily="34" charset="0"/>
                <a:cs typeface="Arial" panose="020B0604020202020204" pitchFamily="34" charset="0"/>
              </a:rPr>
              <a:t>y.  All of the main concerns of my campaign correlate to poverty and social inequality the lack of education leads to poverty and poverty leads to a lack of education and a lack of human rights, and equality. </a:t>
            </a:r>
          </a:p>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Poverty creates barriers which prevent young people from accessing education. My goal as an MSYP would be to break those barriers and help people from more disadvantaged of backgrounds. People from more deprived backgrounds tend to achieve less as shown “</a:t>
            </a:r>
            <a:r>
              <a:rPr lang="en-GB" sz="1400" b="0" i="0" dirty="0">
                <a:solidFill>
                  <a:schemeClr val="bg1"/>
                </a:solidFill>
                <a:effectLst/>
                <a:latin typeface="Arial" panose="020B0604020202020204" pitchFamily="34" charset="0"/>
              </a:rPr>
              <a:t>Children accessing Free School Meals are 28% less likely to leave school with 5 A*-C GCSE grades than their wealthier peers.” Studies have also shown that children and adults living in poverty tend to struggle more </a:t>
            </a:r>
            <a:r>
              <a:rPr lang="en-GB" sz="1400" dirty="0">
                <a:solidFill>
                  <a:schemeClr val="bg1"/>
                </a:solidFill>
                <a:latin typeface="Arial" panose="020B0604020202020204" pitchFamily="34" charset="0"/>
              </a:rPr>
              <a:t>with mental health, traumatology researches also show that children from disadvantaged backgrounds are much more likely to be bullied therefore developing trauma and demoralising them. My goal is to minimise those instances and help such people achieve.</a:t>
            </a:r>
          </a:p>
          <a:p>
            <a:pPr marL="285750" indent="-285750">
              <a:buFont typeface="Arial" panose="020B0604020202020204" pitchFamily="34" charset="0"/>
              <a:buChar char="•"/>
            </a:pPr>
            <a:r>
              <a:rPr lang="en-GB" sz="1400" dirty="0">
                <a:solidFill>
                  <a:schemeClr val="bg1"/>
                </a:solidFill>
                <a:latin typeface="Arial" panose="020B0604020202020204" pitchFamily="34" charset="0"/>
              </a:rPr>
              <a:t>The UK is one of the most unequal countries in Europe, statistics by the European union have shown that although the highest income area in Europe is in the UK(Central London), the UK also has nine out of the ten lowest income areas in Europe and one of, if not the highest income inequality gaps in the whole continent. This huge division of class and the fact that private education is favoured amongst the best of universities makes it harder from people from poorer backgrounds to climb the social ladder and escape poverty. The only way to attempt to solve that is to provide and environment that does not downgrade individuals on the basis of their social class and to direct our support towards these people. </a:t>
            </a:r>
          </a:p>
          <a:p>
            <a:endParaRPr lang="en-GB" sz="6600" dirty="0">
              <a:solidFill>
                <a:schemeClr val="bg1"/>
              </a:solidFill>
              <a:latin typeface="Franklin Gothic Demi" panose="020B0703020102020204" pitchFamily="34" charset="0"/>
            </a:endParaRPr>
          </a:p>
        </p:txBody>
      </p:sp>
      <p:sp>
        <p:nvSpPr>
          <p:cNvPr id="6" name="Rectangle 5">
            <a:extLst>
              <a:ext uri="{FF2B5EF4-FFF2-40B4-BE49-F238E27FC236}">
                <a16:creationId xmlns:a16="http://schemas.microsoft.com/office/drawing/2014/main" id="{ED7D041C-FB85-4C07-80FA-F90D37F97986}"/>
              </a:ext>
            </a:extLst>
          </p:cNvPr>
          <p:cNvSpPr/>
          <p:nvPr/>
        </p:nvSpPr>
        <p:spPr>
          <a:xfrm>
            <a:off x="1" y="0"/>
            <a:ext cx="4678325" cy="6858000"/>
          </a:xfrm>
          <a:prstGeom prst="rect">
            <a:avLst/>
          </a:prstGeom>
          <a:solidFill>
            <a:schemeClr val="tx2"/>
          </a:solidFill>
          <a:ln>
            <a:noFill/>
          </a:ln>
          <a:effectLst>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pic>
        <p:nvPicPr>
          <p:cNvPr id="1026" name="Picture 2" descr="Transparent Stripes Tumblr Huge Freebie Download For Transparent - Clip Art  Library">
            <a:extLst>
              <a:ext uri="{FF2B5EF4-FFF2-40B4-BE49-F238E27FC236}">
                <a16:creationId xmlns:a16="http://schemas.microsoft.com/office/drawing/2014/main" id="{72EE66D6-E3E8-410A-AF8D-B71F974B3B67}"/>
              </a:ext>
            </a:extLst>
          </p:cNvPr>
          <p:cNvPicPr>
            <a:picLocks noChangeAspect="1" noChangeArrowheads="1"/>
          </p:cNvPicPr>
          <p:nvPr/>
        </p:nvPicPr>
        <p:blipFill>
          <a:blip r:embed="rId3">
            <a:alphaModFix amt="20000"/>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0" y="0"/>
            <a:ext cx="4713554" cy="6858000"/>
          </a:xfrm>
          <a:prstGeom prst="rect">
            <a:avLst/>
          </a:prstGeom>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pic>
        <p:nvPicPr>
          <p:cNvPr id="5122" name="Picture 2">
            <a:extLst>
              <a:ext uri="{FF2B5EF4-FFF2-40B4-BE49-F238E27FC236}">
                <a16:creationId xmlns:a16="http://schemas.microsoft.com/office/drawing/2014/main" id="{FE60E1C7-E834-441E-9534-058CA29BFF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457201" y="597511"/>
            <a:ext cx="3777018" cy="3281284"/>
          </a:xfrm>
          <a:prstGeom prst="rect">
            <a:avLst/>
          </a:prstGeom>
          <a:noFill/>
          <a:extLst>
            <a:ext uri="{909E8E84-426E-40DD-AFC4-6F175D3DCCD1}">
              <a14:hiddenFill xmlns:a14="http://schemas.microsoft.com/office/drawing/2010/main">
                <a:solidFill>
                  <a:srgbClr val="FFFFFF"/>
                </a:solidFill>
              </a14:hiddenFill>
            </a:ext>
          </a:extLst>
        </p:spPr>
      </p:pic>
      <p:sp>
        <p:nvSpPr>
          <p:cNvPr id="13" name="Graphic 11" descr="One solid circle, one ring, and one circle filled with diagonal lines">
            <a:extLst>
              <a:ext uri="{FF2B5EF4-FFF2-40B4-BE49-F238E27FC236}">
                <a16:creationId xmlns:a16="http://schemas.microsoft.com/office/drawing/2014/main" id="{4BA68D30-6A79-4995-A9C0-E2E01C16B30F}"/>
              </a:ext>
            </a:extLst>
          </p:cNvPr>
          <p:cNvSpPr/>
          <p:nvPr/>
        </p:nvSpPr>
        <p:spPr>
          <a:xfrm>
            <a:off x="1948101" y="4463153"/>
            <a:ext cx="2110562" cy="2110562"/>
          </a:xfrm>
          <a:custGeom>
            <a:avLst/>
            <a:gdLst>
              <a:gd name="connsiteX0" fmla="*/ 1055281 w 2110562"/>
              <a:gd name="connsiteY0" fmla="*/ 0 h 2110562"/>
              <a:gd name="connsiteX1" fmla="*/ 0 w 2110562"/>
              <a:gd name="connsiteY1" fmla="*/ 1055281 h 2110562"/>
              <a:gd name="connsiteX2" fmla="*/ 1055281 w 2110562"/>
              <a:gd name="connsiteY2" fmla="*/ 2110563 h 2110562"/>
              <a:gd name="connsiteX3" fmla="*/ 2110563 w 2110562"/>
              <a:gd name="connsiteY3" fmla="*/ 1055281 h 2110562"/>
              <a:gd name="connsiteX4" fmla="*/ 1055281 w 2110562"/>
              <a:gd name="connsiteY4" fmla="*/ 0 h 2110562"/>
              <a:gd name="connsiteX5" fmla="*/ 1055281 w 2110562"/>
              <a:gd name="connsiteY5" fmla="*/ 1582922 h 2110562"/>
              <a:gd name="connsiteX6" fmla="*/ 527641 w 2110562"/>
              <a:gd name="connsiteY6" fmla="*/ 1055281 h 2110562"/>
              <a:gd name="connsiteX7" fmla="*/ 1055281 w 2110562"/>
              <a:gd name="connsiteY7" fmla="*/ 527641 h 2110562"/>
              <a:gd name="connsiteX8" fmla="*/ 1582922 w 2110562"/>
              <a:gd name="connsiteY8" fmla="*/ 1055281 h 2110562"/>
              <a:gd name="connsiteX9" fmla="*/ 1055281 w 2110562"/>
              <a:gd name="connsiteY9" fmla="*/ 1582922 h 211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0562" h="2110562">
                <a:moveTo>
                  <a:pt x="1055281" y="0"/>
                </a:moveTo>
                <a:cubicBezTo>
                  <a:pt x="472467" y="0"/>
                  <a:pt x="0" y="472467"/>
                  <a:pt x="0" y="1055281"/>
                </a:cubicBezTo>
                <a:cubicBezTo>
                  <a:pt x="0" y="1638096"/>
                  <a:pt x="472467" y="2110563"/>
                  <a:pt x="1055281" y="2110563"/>
                </a:cubicBezTo>
                <a:cubicBezTo>
                  <a:pt x="1638095" y="2110563"/>
                  <a:pt x="2110563" y="1638096"/>
                  <a:pt x="2110563" y="1055281"/>
                </a:cubicBezTo>
                <a:cubicBezTo>
                  <a:pt x="2110563" y="472467"/>
                  <a:pt x="1638087" y="0"/>
                  <a:pt x="1055281" y="0"/>
                </a:cubicBezTo>
                <a:close/>
                <a:moveTo>
                  <a:pt x="1055281" y="1582922"/>
                </a:moveTo>
                <a:cubicBezTo>
                  <a:pt x="763874" y="1582922"/>
                  <a:pt x="527641" y="1346688"/>
                  <a:pt x="527641" y="1055281"/>
                </a:cubicBezTo>
                <a:cubicBezTo>
                  <a:pt x="527641" y="763874"/>
                  <a:pt x="763874" y="527641"/>
                  <a:pt x="1055281" y="527641"/>
                </a:cubicBezTo>
                <a:cubicBezTo>
                  <a:pt x="1346688" y="527641"/>
                  <a:pt x="1582922" y="763874"/>
                  <a:pt x="1582922" y="1055281"/>
                </a:cubicBezTo>
                <a:cubicBezTo>
                  <a:pt x="1582922" y="1346688"/>
                  <a:pt x="1346688" y="1582922"/>
                  <a:pt x="1055281" y="1582922"/>
                </a:cubicBezTo>
                <a:close/>
              </a:path>
            </a:pathLst>
          </a:custGeom>
          <a:solidFill>
            <a:srgbClr val="D2D2D2"/>
          </a:solidFill>
          <a:ln w="8791" cap="flat">
            <a:noFill/>
            <a:prstDash val="solid"/>
            <a:miter/>
          </a:ln>
        </p:spPr>
        <p:txBody>
          <a:bodyPr rtlCol="0" anchor="ctr"/>
          <a:lstStyle/>
          <a:p>
            <a:endParaRPr lang="en-GB">
              <a:highlight>
                <a:srgbClr val="FFFF00"/>
              </a:highlight>
            </a:endParaRPr>
          </a:p>
        </p:txBody>
      </p:sp>
      <p:grpSp>
        <p:nvGrpSpPr>
          <p:cNvPr id="14" name="Graphic 11" descr="One solid circle, one ring, and one circle filled with diagonal lines">
            <a:extLst>
              <a:ext uri="{FF2B5EF4-FFF2-40B4-BE49-F238E27FC236}">
                <a16:creationId xmlns:a16="http://schemas.microsoft.com/office/drawing/2014/main" id="{452ABEE6-F759-408F-B9ED-60EB4FE0B8D5}"/>
              </a:ext>
            </a:extLst>
          </p:cNvPr>
          <p:cNvGrpSpPr/>
          <p:nvPr/>
        </p:nvGrpSpPr>
        <p:grpSpPr>
          <a:xfrm>
            <a:off x="616732" y="3406561"/>
            <a:ext cx="2109076" cy="2109076"/>
            <a:chOff x="616732" y="3406561"/>
            <a:chExt cx="2109076" cy="2109076"/>
          </a:xfrm>
          <a:solidFill>
            <a:schemeClr val="accent2">
              <a:lumMod val="75000"/>
            </a:schemeClr>
          </a:solidFill>
        </p:grpSpPr>
        <p:sp>
          <p:nvSpPr>
            <p:cNvPr id="15" name="Freeform: Shape 14">
              <a:extLst>
                <a:ext uri="{FF2B5EF4-FFF2-40B4-BE49-F238E27FC236}">
                  <a16:creationId xmlns:a16="http://schemas.microsoft.com/office/drawing/2014/main" id="{BD548ADC-C671-440F-A596-C35066AABFA0}"/>
                </a:ext>
              </a:extLst>
            </p:cNvPr>
            <p:cNvSpPr/>
            <p:nvPr/>
          </p:nvSpPr>
          <p:spPr>
            <a:xfrm>
              <a:off x="728389" y="3518219"/>
              <a:ext cx="468720" cy="468720"/>
            </a:xfrm>
            <a:custGeom>
              <a:avLst/>
              <a:gdLst>
                <a:gd name="connsiteX0" fmla="*/ 414567 w 468720"/>
                <a:gd name="connsiteY0" fmla="*/ 29275 h 468720"/>
                <a:gd name="connsiteX1" fmla="*/ 29275 w 468720"/>
                <a:gd name="connsiteY1" fmla="*/ 414567 h 468720"/>
                <a:gd name="connsiteX2" fmla="*/ 0 w 468720"/>
                <a:gd name="connsiteY2" fmla="*/ 468721 h 468720"/>
                <a:gd name="connsiteX3" fmla="*/ 468721 w 468720"/>
                <a:gd name="connsiteY3" fmla="*/ 0 h 468720"/>
                <a:gd name="connsiteX4" fmla="*/ 414567 w 468720"/>
                <a:gd name="connsiteY4" fmla="*/ 29275 h 46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720" h="468720">
                  <a:moveTo>
                    <a:pt x="414567" y="29275"/>
                  </a:moveTo>
                  <a:lnTo>
                    <a:pt x="29275" y="414567"/>
                  </a:lnTo>
                  <a:cubicBezTo>
                    <a:pt x="18951" y="432393"/>
                    <a:pt x="9190" y="450447"/>
                    <a:pt x="0" y="468721"/>
                  </a:cubicBezTo>
                  <a:lnTo>
                    <a:pt x="468721" y="0"/>
                  </a:lnTo>
                  <a:cubicBezTo>
                    <a:pt x="450447" y="9190"/>
                    <a:pt x="432393" y="18960"/>
                    <a:pt x="414567" y="29275"/>
                  </a:cubicBezTo>
                  <a:close/>
                </a:path>
              </a:pathLst>
            </a:custGeom>
            <a:grpFill/>
            <a:ln w="8791" cap="flat">
              <a:noFill/>
              <a:prstDash val="solid"/>
              <a:miter/>
            </a:ln>
          </p:spPr>
          <p:txBody>
            <a:bodyPr rtlCol="0" anchor="ctr"/>
            <a:lstStyle/>
            <a:p>
              <a:endParaRPr lang="en-GB">
                <a:highlight>
                  <a:srgbClr val="FFFF00"/>
                </a:highlight>
              </a:endParaRPr>
            </a:p>
          </p:txBody>
        </p:sp>
        <p:sp>
          <p:nvSpPr>
            <p:cNvPr id="16" name="Freeform: Shape 15">
              <a:extLst>
                <a:ext uri="{FF2B5EF4-FFF2-40B4-BE49-F238E27FC236}">
                  <a16:creationId xmlns:a16="http://schemas.microsoft.com/office/drawing/2014/main" id="{99D3E630-AD70-457F-9388-AF036DAE9D22}"/>
                </a:ext>
              </a:extLst>
            </p:cNvPr>
            <p:cNvSpPr/>
            <p:nvPr/>
          </p:nvSpPr>
          <p:spPr>
            <a:xfrm>
              <a:off x="659242" y="3449071"/>
              <a:ext cx="712692" cy="712701"/>
            </a:xfrm>
            <a:custGeom>
              <a:avLst/>
              <a:gdLst>
                <a:gd name="connsiteX0" fmla="*/ 676312 w 712692"/>
                <a:gd name="connsiteY0" fmla="*/ 11520 h 712701"/>
                <a:gd name="connsiteX1" fmla="*/ 11520 w 712692"/>
                <a:gd name="connsiteY1" fmla="*/ 676312 h 712701"/>
                <a:gd name="connsiteX2" fmla="*/ 0 w 712692"/>
                <a:gd name="connsiteY2" fmla="*/ 712702 h 712701"/>
                <a:gd name="connsiteX3" fmla="*/ 712693 w 712692"/>
                <a:gd name="connsiteY3" fmla="*/ 0 h 712701"/>
                <a:gd name="connsiteX4" fmla="*/ 676312 w 712692"/>
                <a:gd name="connsiteY4" fmla="*/ 11520 h 712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692" h="712701">
                  <a:moveTo>
                    <a:pt x="676312" y="11520"/>
                  </a:moveTo>
                  <a:lnTo>
                    <a:pt x="11520" y="676312"/>
                  </a:lnTo>
                  <a:cubicBezTo>
                    <a:pt x="7475" y="688386"/>
                    <a:pt x="3597" y="700513"/>
                    <a:pt x="0" y="712702"/>
                  </a:cubicBezTo>
                  <a:lnTo>
                    <a:pt x="712693" y="0"/>
                  </a:lnTo>
                  <a:cubicBezTo>
                    <a:pt x="700504" y="3597"/>
                    <a:pt x="688386" y="7475"/>
                    <a:pt x="676312" y="11520"/>
                  </a:cubicBezTo>
                  <a:close/>
                </a:path>
              </a:pathLst>
            </a:custGeom>
            <a:grpFill/>
            <a:ln w="8791" cap="flat">
              <a:noFill/>
              <a:prstDash val="solid"/>
              <a:miter/>
            </a:ln>
          </p:spPr>
          <p:txBody>
            <a:bodyPr rtlCol="0" anchor="ctr"/>
            <a:lstStyle/>
            <a:p>
              <a:endParaRPr lang="en-GB">
                <a:highlight>
                  <a:srgbClr val="FFFF00"/>
                </a:highlight>
              </a:endParaRPr>
            </a:p>
          </p:txBody>
        </p:sp>
        <p:sp>
          <p:nvSpPr>
            <p:cNvPr id="17" name="Freeform: Shape 16">
              <a:extLst>
                <a:ext uri="{FF2B5EF4-FFF2-40B4-BE49-F238E27FC236}">
                  <a16:creationId xmlns:a16="http://schemas.microsoft.com/office/drawing/2014/main" id="{441E015E-E840-44C5-A983-43D44398663A}"/>
                </a:ext>
              </a:extLst>
            </p:cNvPr>
            <p:cNvSpPr/>
            <p:nvPr/>
          </p:nvSpPr>
          <p:spPr>
            <a:xfrm>
              <a:off x="628789" y="3418600"/>
              <a:ext cx="879304" cy="879304"/>
            </a:xfrm>
            <a:custGeom>
              <a:avLst/>
              <a:gdLst>
                <a:gd name="connsiteX0" fmla="*/ 849326 w 879304"/>
                <a:gd name="connsiteY0" fmla="*/ 5109 h 879304"/>
                <a:gd name="connsiteX1" fmla="*/ 5101 w 879304"/>
                <a:gd name="connsiteY1" fmla="*/ 849334 h 879304"/>
                <a:gd name="connsiteX2" fmla="*/ 0 w 879304"/>
                <a:gd name="connsiteY2" fmla="*/ 879304 h 879304"/>
                <a:gd name="connsiteX3" fmla="*/ 879304 w 879304"/>
                <a:gd name="connsiteY3" fmla="*/ 0 h 879304"/>
                <a:gd name="connsiteX4" fmla="*/ 849326 w 879304"/>
                <a:gd name="connsiteY4" fmla="*/ 5109 h 879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304" h="879304">
                  <a:moveTo>
                    <a:pt x="849326" y="5109"/>
                  </a:moveTo>
                  <a:lnTo>
                    <a:pt x="5101" y="849334"/>
                  </a:lnTo>
                  <a:cubicBezTo>
                    <a:pt x="3254" y="859307"/>
                    <a:pt x="1557" y="869297"/>
                    <a:pt x="0" y="879304"/>
                  </a:cubicBezTo>
                  <a:lnTo>
                    <a:pt x="879304" y="0"/>
                  </a:lnTo>
                  <a:cubicBezTo>
                    <a:pt x="869288" y="1565"/>
                    <a:pt x="859298" y="3263"/>
                    <a:pt x="849326" y="5109"/>
                  </a:cubicBezTo>
                  <a:close/>
                </a:path>
              </a:pathLst>
            </a:custGeom>
            <a:grpFill/>
            <a:ln w="8791" cap="flat">
              <a:noFill/>
              <a:prstDash val="solid"/>
              <a:miter/>
            </a:ln>
          </p:spPr>
          <p:txBody>
            <a:bodyPr rtlCol="0" anchor="ctr"/>
            <a:lstStyle/>
            <a:p>
              <a:endParaRPr lang="en-GB">
                <a:highlight>
                  <a:srgbClr val="FFFF00"/>
                </a:highlight>
              </a:endParaRPr>
            </a:p>
          </p:txBody>
        </p:sp>
        <p:sp>
          <p:nvSpPr>
            <p:cNvPr id="18" name="Freeform: Shape 17">
              <a:extLst>
                <a:ext uri="{FF2B5EF4-FFF2-40B4-BE49-F238E27FC236}">
                  <a16:creationId xmlns:a16="http://schemas.microsoft.com/office/drawing/2014/main" id="{F9FA8433-5C30-480F-A046-2DE02757F91B}"/>
                </a:ext>
              </a:extLst>
            </p:cNvPr>
            <p:cNvSpPr/>
            <p:nvPr/>
          </p:nvSpPr>
          <p:spPr>
            <a:xfrm>
              <a:off x="617110" y="3406939"/>
              <a:ext cx="1008329" cy="1008321"/>
            </a:xfrm>
            <a:custGeom>
              <a:avLst/>
              <a:gdLst>
                <a:gd name="connsiteX0" fmla="*/ 982001 w 1008329"/>
                <a:gd name="connsiteY0" fmla="*/ 1460 h 1008321"/>
                <a:gd name="connsiteX1" fmla="*/ 1460 w 1008329"/>
                <a:gd name="connsiteY1" fmla="*/ 981992 h 1008321"/>
                <a:gd name="connsiteX2" fmla="*/ 0 w 1008329"/>
                <a:gd name="connsiteY2" fmla="*/ 1008321 h 1008321"/>
                <a:gd name="connsiteX3" fmla="*/ 1008330 w 1008329"/>
                <a:gd name="connsiteY3" fmla="*/ 0 h 1008321"/>
                <a:gd name="connsiteX4" fmla="*/ 982001 w 1008329"/>
                <a:gd name="connsiteY4" fmla="*/ 1460 h 1008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329" h="1008321">
                  <a:moveTo>
                    <a:pt x="982001" y="1460"/>
                  </a:moveTo>
                  <a:lnTo>
                    <a:pt x="1460" y="981992"/>
                  </a:lnTo>
                  <a:cubicBezTo>
                    <a:pt x="862" y="990760"/>
                    <a:pt x="378" y="999536"/>
                    <a:pt x="0" y="1008321"/>
                  </a:cubicBezTo>
                  <a:lnTo>
                    <a:pt x="1008330" y="0"/>
                  </a:lnTo>
                  <a:cubicBezTo>
                    <a:pt x="999545" y="378"/>
                    <a:pt x="990768" y="862"/>
                    <a:pt x="982001" y="1460"/>
                  </a:cubicBezTo>
                  <a:close/>
                </a:path>
              </a:pathLst>
            </a:custGeom>
            <a:grpFill/>
            <a:ln w="8791" cap="flat">
              <a:noFill/>
              <a:prstDash val="solid"/>
              <a:miter/>
            </a:ln>
          </p:spPr>
          <p:txBody>
            <a:bodyPr rtlCol="0" anchor="ctr"/>
            <a:lstStyle/>
            <a:p>
              <a:endParaRPr lang="en-GB">
                <a:highlight>
                  <a:srgbClr val="FFFF00"/>
                </a:highlight>
              </a:endParaRPr>
            </a:p>
          </p:txBody>
        </p:sp>
        <p:sp>
          <p:nvSpPr>
            <p:cNvPr id="19" name="Freeform: Shape 18">
              <a:extLst>
                <a:ext uri="{FF2B5EF4-FFF2-40B4-BE49-F238E27FC236}">
                  <a16:creationId xmlns:a16="http://schemas.microsoft.com/office/drawing/2014/main" id="{AB38100A-0939-47FC-B1C5-1F73948B5DB0}"/>
                </a:ext>
              </a:extLst>
            </p:cNvPr>
            <p:cNvSpPr/>
            <p:nvPr/>
          </p:nvSpPr>
          <p:spPr>
            <a:xfrm>
              <a:off x="616732" y="3406561"/>
              <a:ext cx="1113717" cy="1113708"/>
            </a:xfrm>
            <a:custGeom>
              <a:avLst/>
              <a:gdLst>
                <a:gd name="connsiteX0" fmla="*/ 1089903 w 1113717"/>
                <a:gd name="connsiteY0" fmla="*/ 0 h 1113708"/>
                <a:gd name="connsiteX1" fmla="*/ 0 w 1113717"/>
                <a:gd name="connsiteY1" fmla="*/ 1089895 h 1113708"/>
                <a:gd name="connsiteX2" fmla="*/ 1055 w 1113717"/>
                <a:gd name="connsiteY2" fmla="*/ 1113709 h 1113708"/>
                <a:gd name="connsiteX3" fmla="*/ 1113718 w 1113717"/>
                <a:gd name="connsiteY3" fmla="*/ 1055 h 1113708"/>
                <a:gd name="connsiteX4" fmla="*/ 1089903 w 1113717"/>
                <a:gd name="connsiteY4" fmla="*/ 0 h 1113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3717" h="1113708">
                  <a:moveTo>
                    <a:pt x="1089903" y="0"/>
                  </a:moveTo>
                  <a:lnTo>
                    <a:pt x="0" y="1089895"/>
                  </a:lnTo>
                  <a:cubicBezTo>
                    <a:pt x="264" y="1097836"/>
                    <a:pt x="616" y="1105776"/>
                    <a:pt x="1055" y="1113709"/>
                  </a:cubicBezTo>
                  <a:lnTo>
                    <a:pt x="1113718" y="1055"/>
                  </a:lnTo>
                  <a:cubicBezTo>
                    <a:pt x="1105777" y="607"/>
                    <a:pt x="1097844" y="264"/>
                    <a:pt x="1089903" y="0"/>
                  </a:cubicBezTo>
                  <a:close/>
                </a:path>
              </a:pathLst>
            </a:custGeom>
            <a:grpFill/>
            <a:ln w="8791" cap="flat">
              <a:noFill/>
              <a:prstDash val="solid"/>
              <a:miter/>
            </a:ln>
          </p:spPr>
          <p:txBody>
            <a:bodyPr rtlCol="0" anchor="ctr"/>
            <a:lstStyle/>
            <a:p>
              <a:endParaRPr lang="en-GB">
                <a:highlight>
                  <a:srgbClr val="FFFF00"/>
                </a:highlight>
              </a:endParaRPr>
            </a:p>
          </p:txBody>
        </p:sp>
        <p:sp>
          <p:nvSpPr>
            <p:cNvPr id="20" name="Freeform: Shape 19">
              <a:extLst>
                <a:ext uri="{FF2B5EF4-FFF2-40B4-BE49-F238E27FC236}">
                  <a16:creationId xmlns:a16="http://schemas.microsoft.com/office/drawing/2014/main" id="{8B2F8144-298E-4588-A47C-E5DA4C09600F}"/>
                </a:ext>
              </a:extLst>
            </p:cNvPr>
            <p:cNvSpPr/>
            <p:nvPr/>
          </p:nvSpPr>
          <p:spPr>
            <a:xfrm>
              <a:off x="624515" y="3414344"/>
              <a:ext cx="1201903" cy="1201894"/>
            </a:xfrm>
            <a:custGeom>
              <a:avLst/>
              <a:gdLst>
                <a:gd name="connsiteX0" fmla="*/ 1180016 w 1201903"/>
                <a:gd name="connsiteY0" fmla="*/ 0 h 1201894"/>
                <a:gd name="connsiteX1" fmla="*/ 0 w 1201903"/>
                <a:gd name="connsiteY1" fmla="*/ 1180007 h 1201894"/>
                <a:gd name="connsiteX2" fmla="*/ 2981 w 1201903"/>
                <a:gd name="connsiteY2" fmla="*/ 1201895 h 1201894"/>
                <a:gd name="connsiteX3" fmla="*/ 1201904 w 1201903"/>
                <a:gd name="connsiteY3" fmla="*/ 2981 h 1201894"/>
                <a:gd name="connsiteX4" fmla="*/ 1180016 w 1201903"/>
                <a:gd name="connsiteY4" fmla="*/ 0 h 1201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903" h="1201894">
                  <a:moveTo>
                    <a:pt x="1180016" y="0"/>
                  </a:moveTo>
                  <a:lnTo>
                    <a:pt x="0" y="1180007"/>
                  </a:lnTo>
                  <a:cubicBezTo>
                    <a:pt x="923" y="1187315"/>
                    <a:pt x="1900" y="1194614"/>
                    <a:pt x="2981" y="1201895"/>
                  </a:cubicBezTo>
                  <a:lnTo>
                    <a:pt x="1201904" y="2981"/>
                  </a:lnTo>
                  <a:cubicBezTo>
                    <a:pt x="1194614" y="1908"/>
                    <a:pt x="1187315" y="923"/>
                    <a:pt x="1180016" y="0"/>
                  </a:cubicBezTo>
                  <a:close/>
                </a:path>
              </a:pathLst>
            </a:custGeom>
            <a:grpFill/>
            <a:ln w="8791" cap="flat">
              <a:noFill/>
              <a:prstDash val="solid"/>
              <a:miter/>
            </a:ln>
          </p:spPr>
          <p:txBody>
            <a:bodyPr rtlCol="0" anchor="ctr"/>
            <a:lstStyle/>
            <a:p>
              <a:endParaRPr lang="en-GB">
                <a:highlight>
                  <a:srgbClr val="FFFF00"/>
                </a:highlight>
              </a:endParaRPr>
            </a:p>
          </p:txBody>
        </p:sp>
        <p:sp>
          <p:nvSpPr>
            <p:cNvPr id="21" name="Freeform: Shape 20">
              <a:extLst>
                <a:ext uri="{FF2B5EF4-FFF2-40B4-BE49-F238E27FC236}">
                  <a16:creationId xmlns:a16="http://schemas.microsoft.com/office/drawing/2014/main" id="{E637F7ED-B176-4E04-9FFF-0DD734D7E76C}"/>
                </a:ext>
              </a:extLst>
            </p:cNvPr>
            <p:cNvSpPr/>
            <p:nvPr/>
          </p:nvSpPr>
          <p:spPr>
            <a:xfrm>
              <a:off x="639904" y="3429733"/>
              <a:ext cx="1275166" cy="1275175"/>
            </a:xfrm>
            <a:custGeom>
              <a:avLst/>
              <a:gdLst>
                <a:gd name="connsiteX0" fmla="*/ 1254914 w 1275166"/>
                <a:gd name="connsiteY0" fmla="*/ 0 h 1275175"/>
                <a:gd name="connsiteX1" fmla="*/ 0 w 1275166"/>
                <a:gd name="connsiteY1" fmla="*/ 1254914 h 1275175"/>
                <a:gd name="connsiteX2" fmla="*/ 4608 w 1275166"/>
                <a:gd name="connsiteY2" fmla="*/ 1275176 h 1275175"/>
                <a:gd name="connsiteX3" fmla="*/ 1275167 w 1275166"/>
                <a:gd name="connsiteY3" fmla="*/ 4608 h 1275175"/>
                <a:gd name="connsiteX4" fmla="*/ 1254914 w 1275166"/>
                <a:gd name="connsiteY4" fmla="*/ 0 h 1275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66" h="1275175">
                  <a:moveTo>
                    <a:pt x="1254914" y="0"/>
                  </a:moveTo>
                  <a:lnTo>
                    <a:pt x="0" y="1254914"/>
                  </a:lnTo>
                  <a:cubicBezTo>
                    <a:pt x="1460" y="1261685"/>
                    <a:pt x="3016" y="1268430"/>
                    <a:pt x="4608" y="1275176"/>
                  </a:cubicBezTo>
                  <a:lnTo>
                    <a:pt x="1275167" y="4608"/>
                  </a:lnTo>
                  <a:cubicBezTo>
                    <a:pt x="1268431" y="3016"/>
                    <a:pt x="1261686" y="1460"/>
                    <a:pt x="1254914" y="0"/>
                  </a:cubicBezTo>
                  <a:close/>
                </a:path>
              </a:pathLst>
            </a:custGeom>
            <a:grpFill/>
            <a:ln w="8791" cap="flat">
              <a:noFill/>
              <a:prstDash val="solid"/>
              <a:miter/>
            </a:ln>
          </p:spPr>
          <p:txBody>
            <a:bodyPr rtlCol="0" anchor="ctr"/>
            <a:lstStyle/>
            <a:p>
              <a:endParaRPr lang="en-GB">
                <a:highlight>
                  <a:srgbClr val="FFFF00"/>
                </a:highlight>
              </a:endParaRPr>
            </a:p>
          </p:txBody>
        </p:sp>
        <p:sp>
          <p:nvSpPr>
            <p:cNvPr id="22" name="Freeform: Shape 21">
              <a:extLst>
                <a:ext uri="{FF2B5EF4-FFF2-40B4-BE49-F238E27FC236}">
                  <a16:creationId xmlns:a16="http://schemas.microsoft.com/office/drawing/2014/main" id="{82A37BF4-2215-478E-8FD5-AA337EA3C578}"/>
                </a:ext>
              </a:extLst>
            </p:cNvPr>
            <p:cNvSpPr/>
            <p:nvPr/>
          </p:nvSpPr>
          <p:spPr>
            <a:xfrm>
              <a:off x="661678" y="3451507"/>
              <a:ext cx="1336021" cy="1336021"/>
            </a:xfrm>
            <a:custGeom>
              <a:avLst/>
              <a:gdLst>
                <a:gd name="connsiteX0" fmla="*/ 1317053 w 1336021"/>
                <a:gd name="connsiteY0" fmla="*/ 0 h 1336021"/>
                <a:gd name="connsiteX1" fmla="*/ 0 w 1336021"/>
                <a:gd name="connsiteY1" fmla="*/ 1317053 h 1336021"/>
                <a:gd name="connsiteX2" fmla="*/ 5901 w 1336021"/>
                <a:gd name="connsiteY2" fmla="*/ 1336021 h 1336021"/>
                <a:gd name="connsiteX3" fmla="*/ 1336021 w 1336021"/>
                <a:gd name="connsiteY3" fmla="*/ 5901 h 1336021"/>
                <a:gd name="connsiteX4" fmla="*/ 1317053 w 1336021"/>
                <a:gd name="connsiteY4" fmla="*/ 0 h 1336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6021" h="1336021">
                  <a:moveTo>
                    <a:pt x="1317053" y="0"/>
                  </a:moveTo>
                  <a:lnTo>
                    <a:pt x="0" y="1317053"/>
                  </a:lnTo>
                  <a:cubicBezTo>
                    <a:pt x="1926" y="1323384"/>
                    <a:pt x="3861" y="1329716"/>
                    <a:pt x="5901" y="1336021"/>
                  </a:cubicBezTo>
                  <a:lnTo>
                    <a:pt x="1336021" y="5901"/>
                  </a:lnTo>
                  <a:cubicBezTo>
                    <a:pt x="1329716" y="3861"/>
                    <a:pt x="1323384" y="1917"/>
                    <a:pt x="1317053" y="0"/>
                  </a:cubicBezTo>
                  <a:close/>
                </a:path>
              </a:pathLst>
            </a:custGeom>
            <a:grpFill/>
            <a:ln w="8791" cap="flat">
              <a:noFill/>
              <a:prstDash val="solid"/>
              <a:miter/>
            </a:ln>
          </p:spPr>
          <p:txBody>
            <a:bodyPr rtlCol="0" anchor="ctr"/>
            <a:lstStyle/>
            <a:p>
              <a:endParaRPr lang="en-GB">
                <a:highlight>
                  <a:srgbClr val="FFFF00"/>
                </a:highlight>
              </a:endParaRPr>
            </a:p>
          </p:txBody>
        </p:sp>
        <p:sp>
          <p:nvSpPr>
            <p:cNvPr id="23" name="Freeform: Shape 22">
              <a:extLst>
                <a:ext uri="{FF2B5EF4-FFF2-40B4-BE49-F238E27FC236}">
                  <a16:creationId xmlns:a16="http://schemas.microsoft.com/office/drawing/2014/main" id="{97E390BE-0B95-4492-8086-3976BB06DD50}"/>
                </a:ext>
              </a:extLst>
            </p:cNvPr>
            <p:cNvSpPr/>
            <p:nvPr/>
          </p:nvSpPr>
          <p:spPr>
            <a:xfrm>
              <a:off x="688922" y="3478751"/>
              <a:ext cx="1385988" cy="1385988"/>
            </a:xfrm>
            <a:custGeom>
              <a:avLst/>
              <a:gdLst>
                <a:gd name="connsiteX0" fmla="*/ 1368243 w 1385988"/>
                <a:gd name="connsiteY0" fmla="*/ 0 h 1385988"/>
                <a:gd name="connsiteX1" fmla="*/ 0 w 1385988"/>
                <a:gd name="connsiteY1" fmla="*/ 1368243 h 1385988"/>
                <a:gd name="connsiteX2" fmla="*/ 7132 w 1385988"/>
                <a:gd name="connsiteY2" fmla="*/ 1385989 h 1385988"/>
                <a:gd name="connsiteX3" fmla="*/ 1385989 w 1385988"/>
                <a:gd name="connsiteY3" fmla="*/ 7132 h 1385988"/>
                <a:gd name="connsiteX4" fmla="*/ 1368243 w 1385988"/>
                <a:gd name="connsiteY4" fmla="*/ 0 h 138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5988" h="1385988">
                  <a:moveTo>
                    <a:pt x="1368243" y="0"/>
                  </a:moveTo>
                  <a:lnTo>
                    <a:pt x="0" y="1368243"/>
                  </a:lnTo>
                  <a:cubicBezTo>
                    <a:pt x="2322" y="1374170"/>
                    <a:pt x="4687" y="1380088"/>
                    <a:pt x="7132" y="1385989"/>
                  </a:cubicBezTo>
                  <a:lnTo>
                    <a:pt x="1385989" y="7132"/>
                  </a:lnTo>
                  <a:cubicBezTo>
                    <a:pt x="1380097" y="4696"/>
                    <a:pt x="1374179" y="2330"/>
                    <a:pt x="1368243" y="0"/>
                  </a:cubicBezTo>
                  <a:close/>
                </a:path>
              </a:pathLst>
            </a:custGeom>
            <a:grpFill/>
            <a:ln w="8791" cap="flat">
              <a:noFill/>
              <a:prstDash val="solid"/>
              <a:miter/>
            </a:ln>
          </p:spPr>
          <p:txBody>
            <a:bodyPr rtlCol="0" anchor="ctr"/>
            <a:lstStyle/>
            <a:p>
              <a:endParaRPr lang="en-GB">
                <a:highlight>
                  <a:srgbClr val="FFFF00"/>
                </a:highlight>
              </a:endParaRPr>
            </a:p>
          </p:txBody>
        </p:sp>
        <p:sp>
          <p:nvSpPr>
            <p:cNvPr id="24" name="Freeform: Shape 23">
              <a:extLst>
                <a:ext uri="{FF2B5EF4-FFF2-40B4-BE49-F238E27FC236}">
                  <a16:creationId xmlns:a16="http://schemas.microsoft.com/office/drawing/2014/main" id="{C8D20973-817F-4A57-8B94-40B5345C4122}"/>
                </a:ext>
              </a:extLst>
            </p:cNvPr>
            <p:cNvSpPr/>
            <p:nvPr/>
          </p:nvSpPr>
          <p:spPr>
            <a:xfrm>
              <a:off x="721064" y="3510885"/>
              <a:ext cx="1426291" cy="1426300"/>
            </a:xfrm>
            <a:custGeom>
              <a:avLst/>
              <a:gdLst>
                <a:gd name="connsiteX0" fmla="*/ 1409654 w 1426291"/>
                <a:gd name="connsiteY0" fmla="*/ 0 h 1426300"/>
                <a:gd name="connsiteX1" fmla="*/ 0 w 1426291"/>
                <a:gd name="connsiteY1" fmla="*/ 1409662 h 1426300"/>
                <a:gd name="connsiteX2" fmla="*/ 8231 w 1426291"/>
                <a:gd name="connsiteY2" fmla="*/ 1426301 h 1426300"/>
                <a:gd name="connsiteX3" fmla="*/ 1426292 w 1426291"/>
                <a:gd name="connsiteY3" fmla="*/ 8231 h 1426300"/>
                <a:gd name="connsiteX4" fmla="*/ 1409654 w 1426291"/>
                <a:gd name="connsiteY4" fmla="*/ 0 h 1426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6291" h="1426300">
                  <a:moveTo>
                    <a:pt x="1409654" y="0"/>
                  </a:moveTo>
                  <a:lnTo>
                    <a:pt x="0" y="1409662"/>
                  </a:lnTo>
                  <a:cubicBezTo>
                    <a:pt x="2691" y="1415229"/>
                    <a:pt x="5435" y="1420778"/>
                    <a:pt x="8231" y="1426301"/>
                  </a:cubicBezTo>
                  <a:lnTo>
                    <a:pt x="1426292" y="8231"/>
                  </a:lnTo>
                  <a:cubicBezTo>
                    <a:pt x="1420769" y="5435"/>
                    <a:pt x="1415220" y="2691"/>
                    <a:pt x="1409654" y="0"/>
                  </a:cubicBezTo>
                  <a:close/>
                </a:path>
              </a:pathLst>
            </a:custGeom>
            <a:grpFill/>
            <a:ln w="8791" cap="flat">
              <a:noFill/>
              <a:prstDash val="solid"/>
              <a:miter/>
            </a:ln>
          </p:spPr>
          <p:txBody>
            <a:bodyPr rtlCol="0" anchor="ctr"/>
            <a:lstStyle/>
            <a:p>
              <a:endParaRPr lang="en-GB">
                <a:highlight>
                  <a:srgbClr val="FFFF00"/>
                </a:highlight>
              </a:endParaRPr>
            </a:p>
          </p:txBody>
        </p:sp>
        <p:sp>
          <p:nvSpPr>
            <p:cNvPr id="25" name="Freeform: Shape 24">
              <a:extLst>
                <a:ext uri="{FF2B5EF4-FFF2-40B4-BE49-F238E27FC236}">
                  <a16:creationId xmlns:a16="http://schemas.microsoft.com/office/drawing/2014/main" id="{4EFC38B0-A274-460B-BC1C-99D8B1C937F0}"/>
                </a:ext>
              </a:extLst>
            </p:cNvPr>
            <p:cNvSpPr/>
            <p:nvPr/>
          </p:nvSpPr>
          <p:spPr>
            <a:xfrm>
              <a:off x="757691" y="3547512"/>
              <a:ext cx="1457712" cy="1457721"/>
            </a:xfrm>
            <a:custGeom>
              <a:avLst/>
              <a:gdLst>
                <a:gd name="connsiteX0" fmla="*/ 1442077 w 1457712"/>
                <a:gd name="connsiteY0" fmla="*/ 0 h 1457721"/>
                <a:gd name="connsiteX1" fmla="*/ 0 w 1457712"/>
                <a:gd name="connsiteY1" fmla="*/ 1442086 h 1457721"/>
                <a:gd name="connsiteX2" fmla="*/ 9234 w 1457712"/>
                <a:gd name="connsiteY2" fmla="*/ 1457722 h 1457721"/>
                <a:gd name="connsiteX3" fmla="*/ 1457713 w 1457712"/>
                <a:gd name="connsiteY3" fmla="*/ 9243 h 1457721"/>
                <a:gd name="connsiteX4" fmla="*/ 1442077 w 1457712"/>
                <a:gd name="connsiteY4" fmla="*/ 0 h 1457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712" h="1457721">
                  <a:moveTo>
                    <a:pt x="1442077" y="0"/>
                  </a:moveTo>
                  <a:lnTo>
                    <a:pt x="0" y="1442086"/>
                  </a:lnTo>
                  <a:cubicBezTo>
                    <a:pt x="3025" y="1447318"/>
                    <a:pt x="6112" y="1452524"/>
                    <a:pt x="9234" y="1457722"/>
                  </a:cubicBezTo>
                  <a:lnTo>
                    <a:pt x="1457713" y="9243"/>
                  </a:lnTo>
                  <a:cubicBezTo>
                    <a:pt x="1452524" y="6112"/>
                    <a:pt x="1447318" y="3034"/>
                    <a:pt x="1442077" y="0"/>
                  </a:cubicBezTo>
                  <a:close/>
                </a:path>
              </a:pathLst>
            </a:custGeom>
            <a:grpFill/>
            <a:ln w="8791" cap="flat">
              <a:noFill/>
              <a:prstDash val="solid"/>
              <a:miter/>
            </a:ln>
          </p:spPr>
          <p:txBody>
            <a:bodyPr rtlCol="0" anchor="ctr"/>
            <a:lstStyle/>
            <a:p>
              <a:endParaRPr lang="en-GB">
                <a:highlight>
                  <a:srgbClr val="FFFF00"/>
                </a:highlight>
              </a:endParaRPr>
            </a:p>
          </p:txBody>
        </p:sp>
        <p:sp>
          <p:nvSpPr>
            <p:cNvPr id="26" name="Freeform: Shape 25">
              <a:extLst>
                <a:ext uri="{FF2B5EF4-FFF2-40B4-BE49-F238E27FC236}">
                  <a16:creationId xmlns:a16="http://schemas.microsoft.com/office/drawing/2014/main" id="{927E346C-AAC0-47F4-85EF-BF817E16FCE9}"/>
                </a:ext>
              </a:extLst>
            </p:cNvPr>
            <p:cNvSpPr/>
            <p:nvPr/>
          </p:nvSpPr>
          <p:spPr>
            <a:xfrm>
              <a:off x="798504" y="3588333"/>
              <a:ext cx="1480832" cy="1480832"/>
            </a:xfrm>
            <a:custGeom>
              <a:avLst/>
              <a:gdLst>
                <a:gd name="connsiteX0" fmla="*/ 1466137 w 1480832"/>
                <a:gd name="connsiteY0" fmla="*/ 0 h 1480832"/>
                <a:gd name="connsiteX1" fmla="*/ 0 w 1480832"/>
                <a:gd name="connsiteY1" fmla="*/ 1466138 h 1480832"/>
                <a:gd name="connsiteX2" fmla="*/ 10175 w 1480832"/>
                <a:gd name="connsiteY2" fmla="*/ 1480832 h 1480832"/>
                <a:gd name="connsiteX3" fmla="*/ 1480832 w 1480832"/>
                <a:gd name="connsiteY3" fmla="*/ 10175 h 1480832"/>
                <a:gd name="connsiteX4" fmla="*/ 1466137 w 1480832"/>
                <a:gd name="connsiteY4" fmla="*/ 0 h 1480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32" h="1480832">
                  <a:moveTo>
                    <a:pt x="1466137" y="0"/>
                  </a:moveTo>
                  <a:lnTo>
                    <a:pt x="0" y="1466138"/>
                  </a:lnTo>
                  <a:cubicBezTo>
                    <a:pt x="3350" y="1471053"/>
                    <a:pt x="6736" y="1475960"/>
                    <a:pt x="10175" y="1480832"/>
                  </a:cubicBezTo>
                  <a:lnTo>
                    <a:pt x="1480832" y="10175"/>
                  </a:lnTo>
                  <a:cubicBezTo>
                    <a:pt x="1475960" y="6727"/>
                    <a:pt x="1471053" y="3351"/>
                    <a:pt x="1466137" y="0"/>
                  </a:cubicBezTo>
                  <a:close/>
                </a:path>
              </a:pathLst>
            </a:custGeom>
            <a:grpFill/>
            <a:ln w="8791" cap="flat">
              <a:noFill/>
              <a:prstDash val="solid"/>
              <a:miter/>
            </a:ln>
          </p:spPr>
          <p:txBody>
            <a:bodyPr rtlCol="0" anchor="ctr"/>
            <a:lstStyle/>
            <a:p>
              <a:endParaRPr lang="en-GB">
                <a:highlight>
                  <a:srgbClr val="FFFF00"/>
                </a:highlight>
              </a:endParaRPr>
            </a:p>
          </p:txBody>
        </p:sp>
        <p:sp>
          <p:nvSpPr>
            <p:cNvPr id="27" name="Freeform: Shape 26">
              <a:extLst>
                <a:ext uri="{FF2B5EF4-FFF2-40B4-BE49-F238E27FC236}">
                  <a16:creationId xmlns:a16="http://schemas.microsoft.com/office/drawing/2014/main" id="{4D8909DA-D995-4EA5-A0C8-C30952FBB8D0}"/>
                </a:ext>
              </a:extLst>
            </p:cNvPr>
            <p:cNvSpPr/>
            <p:nvPr/>
          </p:nvSpPr>
          <p:spPr>
            <a:xfrm>
              <a:off x="843283" y="3633113"/>
              <a:ext cx="1496063" cy="1496063"/>
            </a:xfrm>
            <a:custGeom>
              <a:avLst/>
              <a:gdLst>
                <a:gd name="connsiteX0" fmla="*/ 1482257 w 1496063"/>
                <a:gd name="connsiteY0" fmla="*/ 0 h 1496063"/>
                <a:gd name="connsiteX1" fmla="*/ 0 w 1496063"/>
                <a:gd name="connsiteY1" fmla="*/ 1482257 h 1496063"/>
                <a:gd name="connsiteX2" fmla="*/ 11063 w 1496063"/>
                <a:gd name="connsiteY2" fmla="*/ 1496063 h 1496063"/>
                <a:gd name="connsiteX3" fmla="*/ 1496063 w 1496063"/>
                <a:gd name="connsiteY3" fmla="*/ 11063 h 1496063"/>
                <a:gd name="connsiteX4" fmla="*/ 1482257 w 1496063"/>
                <a:gd name="connsiteY4" fmla="*/ 0 h 1496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063" h="1496063">
                  <a:moveTo>
                    <a:pt x="1482257" y="0"/>
                  </a:moveTo>
                  <a:lnTo>
                    <a:pt x="0" y="1482257"/>
                  </a:lnTo>
                  <a:cubicBezTo>
                    <a:pt x="3658" y="1486874"/>
                    <a:pt x="7317" y="1491499"/>
                    <a:pt x="11063" y="1496063"/>
                  </a:cubicBezTo>
                  <a:lnTo>
                    <a:pt x="1496063" y="11063"/>
                  </a:lnTo>
                  <a:cubicBezTo>
                    <a:pt x="1491491" y="7317"/>
                    <a:pt x="1486874" y="3658"/>
                    <a:pt x="1482257" y="0"/>
                  </a:cubicBezTo>
                  <a:close/>
                </a:path>
              </a:pathLst>
            </a:custGeom>
            <a:grpFill/>
            <a:ln w="8791" cap="flat">
              <a:noFill/>
              <a:prstDash val="solid"/>
              <a:miter/>
            </a:ln>
          </p:spPr>
          <p:txBody>
            <a:bodyPr rtlCol="0" anchor="ctr"/>
            <a:lstStyle/>
            <a:p>
              <a:endParaRPr lang="en-GB">
                <a:highlight>
                  <a:srgbClr val="FFFF00"/>
                </a:highlight>
              </a:endParaRPr>
            </a:p>
          </p:txBody>
        </p:sp>
        <p:sp>
          <p:nvSpPr>
            <p:cNvPr id="28" name="Freeform: Shape 27">
              <a:extLst>
                <a:ext uri="{FF2B5EF4-FFF2-40B4-BE49-F238E27FC236}">
                  <a16:creationId xmlns:a16="http://schemas.microsoft.com/office/drawing/2014/main" id="{88F88CE8-3519-4007-9D81-0A962E29C698}"/>
                </a:ext>
              </a:extLst>
            </p:cNvPr>
            <p:cNvSpPr/>
            <p:nvPr/>
          </p:nvSpPr>
          <p:spPr>
            <a:xfrm>
              <a:off x="891861" y="3681691"/>
              <a:ext cx="1503679" cy="1503687"/>
            </a:xfrm>
            <a:custGeom>
              <a:avLst/>
              <a:gdLst>
                <a:gd name="connsiteX0" fmla="*/ 1490778 w 1503679"/>
                <a:gd name="connsiteY0" fmla="*/ 0 h 1503687"/>
                <a:gd name="connsiteX1" fmla="*/ 0 w 1503679"/>
                <a:gd name="connsiteY1" fmla="*/ 1490778 h 1503687"/>
                <a:gd name="connsiteX2" fmla="*/ 11960 w 1503679"/>
                <a:gd name="connsiteY2" fmla="*/ 1503688 h 1503687"/>
                <a:gd name="connsiteX3" fmla="*/ 1503679 w 1503679"/>
                <a:gd name="connsiteY3" fmla="*/ 11960 h 1503687"/>
                <a:gd name="connsiteX4" fmla="*/ 1490778 w 1503679"/>
                <a:gd name="connsiteY4" fmla="*/ 0 h 1503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3679" h="1503687">
                  <a:moveTo>
                    <a:pt x="1490778" y="0"/>
                  </a:moveTo>
                  <a:lnTo>
                    <a:pt x="0" y="1490778"/>
                  </a:lnTo>
                  <a:cubicBezTo>
                    <a:pt x="3949" y="1495105"/>
                    <a:pt x="7923" y="1499414"/>
                    <a:pt x="11960" y="1503688"/>
                  </a:cubicBezTo>
                  <a:lnTo>
                    <a:pt x="1503679" y="11960"/>
                  </a:lnTo>
                  <a:cubicBezTo>
                    <a:pt x="1499414" y="7923"/>
                    <a:pt x="1495105" y="3948"/>
                    <a:pt x="1490778" y="0"/>
                  </a:cubicBezTo>
                  <a:close/>
                </a:path>
              </a:pathLst>
            </a:custGeom>
            <a:grpFill/>
            <a:ln w="8791" cap="flat">
              <a:noFill/>
              <a:prstDash val="solid"/>
              <a:miter/>
            </a:ln>
          </p:spPr>
          <p:txBody>
            <a:bodyPr rtlCol="0" anchor="ctr"/>
            <a:lstStyle/>
            <a:p>
              <a:endParaRPr lang="en-GB">
                <a:highlight>
                  <a:srgbClr val="FFFF00"/>
                </a:highlight>
              </a:endParaRPr>
            </a:p>
          </p:txBody>
        </p:sp>
        <p:sp>
          <p:nvSpPr>
            <p:cNvPr id="29" name="Freeform: Shape 28">
              <a:extLst>
                <a:ext uri="{FF2B5EF4-FFF2-40B4-BE49-F238E27FC236}">
                  <a16:creationId xmlns:a16="http://schemas.microsoft.com/office/drawing/2014/main" id="{1E56B8AF-3093-4E5C-BACC-F0620AED8EFC}"/>
                </a:ext>
              </a:extLst>
            </p:cNvPr>
            <p:cNvSpPr/>
            <p:nvPr/>
          </p:nvSpPr>
          <p:spPr>
            <a:xfrm>
              <a:off x="944133" y="3733962"/>
              <a:ext cx="1503898" cy="1503898"/>
            </a:xfrm>
            <a:custGeom>
              <a:avLst/>
              <a:gdLst>
                <a:gd name="connsiteX0" fmla="*/ 1491922 w 1503898"/>
                <a:gd name="connsiteY0" fmla="*/ 0 h 1503898"/>
                <a:gd name="connsiteX1" fmla="*/ 0 w 1503898"/>
                <a:gd name="connsiteY1" fmla="*/ 1491921 h 1503898"/>
                <a:gd name="connsiteX2" fmla="*/ 12892 w 1503898"/>
                <a:gd name="connsiteY2" fmla="*/ 1503899 h 1503898"/>
                <a:gd name="connsiteX3" fmla="*/ 1503899 w 1503898"/>
                <a:gd name="connsiteY3" fmla="*/ 12892 h 1503898"/>
                <a:gd name="connsiteX4" fmla="*/ 1491922 w 1503898"/>
                <a:gd name="connsiteY4" fmla="*/ 0 h 1503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3898" h="1503898">
                  <a:moveTo>
                    <a:pt x="1491922" y="0"/>
                  </a:moveTo>
                  <a:lnTo>
                    <a:pt x="0" y="1491921"/>
                  </a:lnTo>
                  <a:cubicBezTo>
                    <a:pt x="4256" y="1495975"/>
                    <a:pt x="8583" y="1499924"/>
                    <a:pt x="12892" y="1503899"/>
                  </a:cubicBezTo>
                  <a:lnTo>
                    <a:pt x="1503899" y="12892"/>
                  </a:lnTo>
                  <a:cubicBezTo>
                    <a:pt x="1499924" y="8583"/>
                    <a:pt x="1495976" y="4265"/>
                    <a:pt x="1491922" y="0"/>
                  </a:cubicBezTo>
                  <a:close/>
                </a:path>
              </a:pathLst>
            </a:custGeom>
            <a:grpFill/>
            <a:ln w="8791" cap="flat">
              <a:noFill/>
              <a:prstDash val="solid"/>
              <a:miter/>
            </a:ln>
          </p:spPr>
          <p:txBody>
            <a:bodyPr rtlCol="0" anchor="ctr"/>
            <a:lstStyle/>
            <a:p>
              <a:endParaRPr lang="en-GB">
                <a:highlight>
                  <a:srgbClr val="FFFF00"/>
                </a:highlight>
              </a:endParaRPr>
            </a:p>
          </p:txBody>
        </p:sp>
        <p:sp>
          <p:nvSpPr>
            <p:cNvPr id="30" name="Freeform: Shape 29">
              <a:extLst>
                <a:ext uri="{FF2B5EF4-FFF2-40B4-BE49-F238E27FC236}">
                  <a16:creationId xmlns:a16="http://schemas.microsoft.com/office/drawing/2014/main" id="{A4E6B4CE-82B5-4871-A3AA-EB5286237C97}"/>
                </a:ext>
              </a:extLst>
            </p:cNvPr>
            <p:cNvSpPr/>
            <p:nvPr/>
          </p:nvSpPr>
          <p:spPr>
            <a:xfrm>
              <a:off x="1000177" y="3789998"/>
              <a:ext cx="1496652" cy="1496661"/>
            </a:xfrm>
            <a:custGeom>
              <a:avLst/>
              <a:gdLst>
                <a:gd name="connsiteX0" fmla="*/ 1485519 w 1496652"/>
                <a:gd name="connsiteY0" fmla="*/ 0 h 1496661"/>
                <a:gd name="connsiteX1" fmla="*/ 0 w 1496652"/>
                <a:gd name="connsiteY1" fmla="*/ 1485528 h 1496661"/>
                <a:gd name="connsiteX2" fmla="*/ 13736 w 1496652"/>
                <a:gd name="connsiteY2" fmla="*/ 1496662 h 1496661"/>
                <a:gd name="connsiteX3" fmla="*/ 1496653 w 1496652"/>
                <a:gd name="connsiteY3" fmla="*/ 13736 h 1496661"/>
                <a:gd name="connsiteX4" fmla="*/ 1485519 w 1496652"/>
                <a:gd name="connsiteY4" fmla="*/ 0 h 149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652" h="1496661">
                  <a:moveTo>
                    <a:pt x="1485519" y="0"/>
                  </a:moveTo>
                  <a:lnTo>
                    <a:pt x="0" y="1485528"/>
                  </a:lnTo>
                  <a:cubicBezTo>
                    <a:pt x="4555" y="1489292"/>
                    <a:pt x="9137" y="1492986"/>
                    <a:pt x="13736" y="1496662"/>
                  </a:cubicBezTo>
                  <a:lnTo>
                    <a:pt x="1496653" y="13736"/>
                  </a:lnTo>
                  <a:cubicBezTo>
                    <a:pt x="1492986" y="9137"/>
                    <a:pt x="1489283" y="4555"/>
                    <a:pt x="1485519" y="0"/>
                  </a:cubicBezTo>
                  <a:close/>
                </a:path>
              </a:pathLst>
            </a:custGeom>
            <a:grpFill/>
            <a:ln w="8791" cap="flat">
              <a:noFill/>
              <a:prstDash val="solid"/>
              <a:miter/>
            </a:ln>
          </p:spPr>
          <p:txBody>
            <a:bodyPr rtlCol="0" anchor="ctr"/>
            <a:lstStyle/>
            <a:p>
              <a:endParaRPr lang="en-GB" dirty="0">
                <a:highlight>
                  <a:srgbClr val="FFFF00"/>
                </a:highlight>
              </a:endParaRPr>
            </a:p>
          </p:txBody>
        </p:sp>
        <p:sp>
          <p:nvSpPr>
            <p:cNvPr id="31" name="Freeform: Shape 30">
              <a:extLst>
                <a:ext uri="{FF2B5EF4-FFF2-40B4-BE49-F238E27FC236}">
                  <a16:creationId xmlns:a16="http://schemas.microsoft.com/office/drawing/2014/main" id="{14DE8497-2F6F-491C-944C-8398F94FE534}"/>
                </a:ext>
              </a:extLst>
            </p:cNvPr>
            <p:cNvSpPr/>
            <p:nvPr/>
          </p:nvSpPr>
          <p:spPr>
            <a:xfrm>
              <a:off x="1059968" y="3849797"/>
              <a:ext cx="1481869" cy="1481869"/>
            </a:xfrm>
            <a:custGeom>
              <a:avLst/>
              <a:gdLst>
                <a:gd name="connsiteX0" fmla="*/ 1471625 w 1481869"/>
                <a:gd name="connsiteY0" fmla="*/ 0 h 1481869"/>
                <a:gd name="connsiteX1" fmla="*/ 0 w 1481869"/>
                <a:gd name="connsiteY1" fmla="*/ 1471616 h 1481869"/>
                <a:gd name="connsiteX2" fmla="*/ 14616 w 1481869"/>
                <a:gd name="connsiteY2" fmla="*/ 1481870 h 1481869"/>
                <a:gd name="connsiteX3" fmla="*/ 1481870 w 1481869"/>
                <a:gd name="connsiteY3" fmla="*/ 14616 h 1481869"/>
                <a:gd name="connsiteX4" fmla="*/ 1471625 w 1481869"/>
                <a:gd name="connsiteY4" fmla="*/ 0 h 1481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1869" h="1481869">
                  <a:moveTo>
                    <a:pt x="1471625" y="0"/>
                  </a:moveTo>
                  <a:lnTo>
                    <a:pt x="0" y="1471616"/>
                  </a:lnTo>
                  <a:cubicBezTo>
                    <a:pt x="4854" y="1475072"/>
                    <a:pt x="9717" y="1478502"/>
                    <a:pt x="14616" y="1481870"/>
                  </a:cubicBezTo>
                  <a:lnTo>
                    <a:pt x="1481870" y="14616"/>
                  </a:lnTo>
                  <a:cubicBezTo>
                    <a:pt x="1478511" y="9717"/>
                    <a:pt x="1475081" y="4846"/>
                    <a:pt x="1471625" y="0"/>
                  </a:cubicBezTo>
                  <a:close/>
                </a:path>
              </a:pathLst>
            </a:custGeom>
            <a:grpFill/>
            <a:ln w="8791" cap="flat">
              <a:noFill/>
              <a:prstDash val="solid"/>
              <a:miter/>
            </a:ln>
          </p:spPr>
          <p:txBody>
            <a:bodyPr rtlCol="0" anchor="ctr"/>
            <a:lstStyle/>
            <a:p>
              <a:endParaRPr lang="en-GB">
                <a:highlight>
                  <a:srgbClr val="FFFF00"/>
                </a:highlight>
              </a:endParaRPr>
            </a:p>
          </p:txBody>
        </p:sp>
        <p:sp>
          <p:nvSpPr>
            <p:cNvPr id="32" name="Freeform: Shape 31">
              <a:extLst>
                <a:ext uri="{FF2B5EF4-FFF2-40B4-BE49-F238E27FC236}">
                  <a16:creationId xmlns:a16="http://schemas.microsoft.com/office/drawing/2014/main" id="{DF2B3BC6-31AE-47E3-8771-B95D7A3628AD}"/>
                </a:ext>
              </a:extLst>
            </p:cNvPr>
            <p:cNvSpPr/>
            <p:nvPr/>
          </p:nvSpPr>
          <p:spPr>
            <a:xfrm>
              <a:off x="1123663" y="3913492"/>
              <a:ext cx="1459225" cy="1459225"/>
            </a:xfrm>
            <a:custGeom>
              <a:avLst/>
              <a:gdLst>
                <a:gd name="connsiteX0" fmla="*/ 1449913 w 1459225"/>
                <a:gd name="connsiteY0" fmla="*/ 0 h 1459225"/>
                <a:gd name="connsiteX1" fmla="*/ 0 w 1459225"/>
                <a:gd name="connsiteY1" fmla="*/ 1449913 h 1459225"/>
                <a:gd name="connsiteX2" fmla="*/ 15557 w 1459225"/>
                <a:gd name="connsiteY2" fmla="*/ 1459225 h 1459225"/>
                <a:gd name="connsiteX3" fmla="*/ 1459225 w 1459225"/>
                <a:gd name="connsiteY3" fmla="*/ 15557 h 1459225"/>
                <a:gd name="connsiteX4" fmla="*/ 1449913 w 1459225"/>
                <a:gd name="connsiteY4" fmla="*/ 0 h 145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9225" h="1459225">
                  <a:moveTo>
                    <a:pt x="1449913" y="0"/>
                  </a:moveTo>
                  <a:lnTo>
                    <a:pt x="0" y="1449913"/>
                  </a:lnTo>
                  <a:cubicBezTo>
                    <a:pt x="5171" y="1453052"/>
                    <a:pt x="10351" y="1456183"/>
                    <a:pt x="15557" y="1459225"/>
                  </a:cubicBezTo>
                  <a:lnTo>
                    <a:pt x="1459225" y="15557"/>
                  </a:lnTo>
                  <a:cubicBezTo>
                    <a:pt x="1456183" y="10342"/>
                    <a:pt x="1453052" y="5171"/>
                    <a:pt x="1449913" y="0"/>
                  </a:cubicBezTo>
                  <a:close/>
                </a:path>
              </a:pathLst>
            </a:custGeom>
            <a:grpFill/>
            <a:ln w="8791" cap="flat">
              <a:noFill/>
              <a:prstDash val="solid"/>
              <a:miter/>
            </a:ln>
          </p:spPr>
          <p:txBody>
            <a:bodyPr rtlCol="0" anchor="ctr"/>
            <a:lstStyle/>
            <a:p>
              <a:endParaRPr lang="en-GB">
                <a:highlight>
                  <a:srgbClr val="FFFF00"/>
                </a:highlight>
              </a:endParaRPr>
            </a:p>
          </p:txBody>
        </p:sp>
        <p:sp>
          <p:nvSpPr>
            <p:cNvPr id="33" name="Freeform: Shape 32">
              <a:extLst>
                <a:ext uri="{FF2B5EF4-FFF2-40B4-BE49-F238E27FC236}">
                  <a16:creationId xmlns:a16="http://schemas.microsoft.com/office/drawing/2014/main" id="{BDFAAA14-72A5-4D53-B45E-E72CFF2FBB65}"/>
                </a:ext>
              </a:extLst>
            </p:cNvPr>
            <p:cNvSpPr/>
            <p:nvPr/>
          </p:nvSpPr>
          <p:spPr>
            <a:xfrm>
              <a:off x="1191482" y="3981303"/>
              <a:ext cx="1428270" cy="1428279"/>
            </a:xfrm>
            <a:custGeom>
              <a:avLst/>
              <a:gdLst>
                <a:gd name="connsiteX0" fmla="*/ 1419960 w 1428270"/>
                <a:gd name="connsiteY0" fmla="*/ 0 h 1428279"/>
                <a:gd name="connsiteX1" fmla="*/ 0 w 1428270"/>
                <a:gd name="connsiteY1" fmla="*/ 1419969 h 1428279"/>
                <a:gd name="connsiteX2" fmla="*/ 16559 w 1428270"/>
                <a:gd name="connsiteY2" fmla="*/ 1428279 h 1428279"/>
                <a:gd name="connsiteX3" fmla="*/ 1428271 w 1428270"/>
                <a:gd name="connsiteY3" fmla="*/ 16568 h 1428279"/>
                <a:gd name="connsiteX4" fmla="*/ 1419960 w 1428270"/>
                <a:gd name="connsiteY4" fmla="*/ 0 h 1428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70" h="1428279">
                  <a:moveTo>
                    <a:pt x="1419960" y="0"/>
                  </a:moveTo>
                  <a:lnTo>
                    <a:pt x="0" y="1419969"/>
                  </a:lnTo>
                  <a:cubicBezTo>
                    <a:pt x="5505" y="1422783"/>
                    <a:pt x="11019" y="1425571"/>
                    <a:pt x="16559" y="1428279"/>
                  </a:cubicBezTo>
                  <a:lnTo>
                    <a:pt x="1428271" y="16568"/>
                  </a:lnTo>
                  <a:cubicBezTo>
                    <a:pt x="1425562" y="11019"/>
                    <a:pt x="1422774" y="5505"/>
                    <a:pt x="1419960" y="0"/>
                  </a:cubicBezTo>
                  <a:close/>
                </a:path>
              </a:pathLst>
            </a:custGeom>
            <a:grpFill/>
            <a:ln w="8791" cap="flat">
              <a:noFill/>
              <a:prstDash val="solid"/>
              <a:miter/>
            </a:ln>
          </p:spPr>
          <p:txBody>
            <a:bodyPr rtlCol="0" anchor="ctr"/>
            <a:lstStyle/>
            <a:p>
              <a:endParaRPr lang="en-GB">
                <a:highlight>
                  <a:srgbClr val="FFFF00"/>
                </a:highlight>
              </a:endParaRPr>
            </a:p>
          </p:txBody>
        </p:sp>
        <p:sp>
          <p:nvSpPr>
            <p:cNvPr id="34" name="Freeform: Shape 33">
              <a:extLst>
                <a:ext uri="{FF2B5EF4-FFF2-40B4-BE49-F238E27FC236}">
                  <a16:creationId xmlns:a16="http://schemas.microsoft.com/office/drawing/2014/main" id="{29601037-B14E-4862-BF78-30CA60B0EE47}"/>
                </a:ext>
              </a:extLst>
            </p:cNvPr>
            <p:cNvSpPr/>
            <p:nvPr/>
          </p:nvSpPr>
          <p:spPr>
            <a:xfrm>
              <a:off x="1263681" y="4053501"/>
              <a:ext cx="1388459" cy="1388459"/>
            </a:xfrm>
            <a:custGeom>
              <a:avLst/>
              <a:gdLst>
                <a:gd name="connsiteX0" fmla="*/ 1381249 w 1388459"/>
                <a:gd name="connsiteY0" fmla="*/ 0 h 1388459"/>
                <a:gd name="connsiteX1" fmla="*/ 0 w 1388459"/>
                <a:gd name="connsiteY1" fmla="*/ 1381249 h 1388459"/>
                <a:gd name="connsiteX2" fmla="*/ 17658 w 1388459"/>
                <a:gd name="connsiteY2" fmla="*/ 1388460 h 1388459"/>
                <a:gd name="connsiteX3" fmla="*/ 1388460 w 1388459"/>
                <a:gd name="connsiteY3" fmla="*/ 17658 h 1388459"/>
                <a:gd name="connsiteX4" fmla="*/ 1381249 w 1388459"/>
                <a:gd name="connsiteY4" fmla="*/ 0 h 138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8459" h="1388459">
                  <a:moveTo>
                    <a:pt x="1381249" y="0"/>
                  </a:moveTo>
                  <a:lnTo>
                    <a:pt x="0" y="1381249"/>
                  </a:lnTo>
                  <a:cubicBezTo>
                    <a:pt x="5866" y="1383702"/>
                    <a:pt x="11758" y="1386121"/>
                    <a:pt x="17658" y="1388460"/>
                  </a:cubicBezTo>
                  <a:lnTo>
                    <a:pt x="1388460" y="17658"/>
                  </a:lnTo>
                  <a:cubicBezTo>
                    <a:pt x="1386112" y="11758"/>
                    <a:pt x="1383702" y="5874"/>
                    <a:pt x="1381249" y="0"/>
                  </a:cubicBezTo>
                  <a:close/>
                </a:path>
              </a:pathLst>
            </a:custGeom>
            <a:grpFill/>
            <a:ln w="8791" cap="flat">
              <a:noFill/>
              <a:prstDash val="solid"/>
              <a:miter/>
            </a:ln>
          </p:spPr>
          <p:txBody>
            <a:bodyPr rtlCol="0" anchor="ctr"/>
            <a:lstStyle/>
            <a:p>
              <a:endParaRPr lang="en-GB">
                <a:highlight>
                  <a:srgbClr val="FFFF00"/>
                </a:highlight>
              </a:endParaRPr>
            </a:p>
          </p:txBody>
        </p:sp>
        <p:sp>
          <p:nvSpPr>
            <p:cNvPr id="35" name="Freeform: Shape 34">
              <a:extLst>
                <a:ext uri="{FF2B5EF4-FFF2-40B4-BE49-F238E27FC236}">
                  <a16:creationId xmlns:a16="http://schemas.microsoft.com/office/drawing/2014/main" id="{EB027ECC-5FC9-4D82-A1EC-D01546309362}"/>
                </a:ext>
              </a:extLst>
            </p:cNvPr>
            <p:cNvSpPr/>
            <p:nvPr/>
          </p:nvSpPr>
          <p:spPr>
            <a:xfrm>
              <a:off x="1340637" y="4130458"/>
              <a:ext cx="1339011" cy="1339020"/>
            </a:xfrm>
            <a:custGeom>
              <a:avLst/>
              <a:gdLst>
                <a:gd name="connsiteX0" fmla="*/ 1333014 w 1339011"/>
                <a:gd name="connsiteY0" fmla="*/ 0 h 1339020"/>
                <a:gd name="connsiteX1" fmla="*/ 0 w 1339011"/>
                <a:gd name="connsiteY1" fmla="*/ 1333023 h 1339020"/>
                <a:gd name="connsiteX2" fmla="*/ 18872 w 1339011"/>
                <a:gd name="connsiteY2" fmla="*/ 1339020 h 1339020"/>
                <a:gd name="connsiteX3" fmla="*/ 1339011 w 1339011"/>
                <a:gd name="connsiteY3" fmla="*/ 18881 h 1339020"/>
                <a:gd name="connsiteX4" fmla="*/ 1333014 w 1339011"/>
                <a:gd name="connsiteY4" fmla="*/ 0 h 1339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011" h="1339020">
                  <a:moveTo>
                    <a:pt x="1333014" y="0"/>
                  </a:moveTo>
                  <a:lnTo>
                    <a:pt x="0" y="1333023"/>
                  </a:lnTo>
                  <a:cubicBezTo>
                    <a:pt x="6279" y="1335089"/>
                    <a:pt x="12567" y="1337077"/>
                    <a:pt x="18872" y="1339020"/>
                  </a:cubicBezTo>
                  <a:lnTo>
                    <a:pt x="1339011" y="18881"/>
                  </a:lnTo>
                  <a:cubicBezTo>
                    <a:pt x="1337068" y="12576"/>
                    <a:pt x="1335080" y="6279"/>
                    <a:pt x="1333014" y="0"/>
                  </a:cubicBezTo>
                  <a:close/>
                </a:path>
              </a:pathLst>
            </a:custGeom>
            <a:grpFill/>
            <a:ln w="8791" cap="flat">
              <a:noFill/>
              <a:prstDash val="solid"/>
              <a:miter/>
            </a:ln>
          </p:spPr>
          <p:txBody>
            <a:bodyPr rtlCol="0" anchor="ctr"/>
            <a:lstStyle/>
            <a:p>
              <a:endParaRPr lang="en-GB">
                <a:highlight>
                  <a:srgbClr val="FFFF00"/>
                </a:highlight>
              </a:endParaRPr>
            </a:p>
          </p:txBody>
        </p:sp>
        <p:sp>
          <p:nvSpPr>
            <p:cNvPr id="36" name="Freeform: Shape 35">
              <a:extLst>
                <a:ext uri="{FF2B5EF4-FFF2-40B4-BE49-F238E27FC236}">
                  <a16:creationId xmlns:a16="http://schemas.microsoft.com/office/drawing/2014/main" id="{4456BC82-ACDB-4744-8693-D53B7B3ED2FF}"/>
                </a:ext>
              </a:extLst>
            </p:cNvPr>
            <p:cNvSpPr/>
            <p:nvPr/>
          </p:nvSpPr>
          <p:spPr>
            <a:xfrm>
              <a:off x="1422879" y="4212708"/>
              <a:ext cx="1278886" cy="1278877"/>
            </a:xfrm>
            <a:custGeom>
              <a:avLst/>
              <a:gdLst>
                <a:gd name="connsiteX0" fmla="*/ 1274208 w 1278886"/>
                <a:gd name="connsiteY0" fmla="*/ 0 h 1278877"/>
                <a:gd name="connsiteX1" fmla="*/ 0 w 1278886"/>
                <a:gd name="connsiteY1" fmla="*/ 1274208 h 1278877"/>
                <a:gd name="connsiteX2" fmla="*/ 20200 w 1278886"/>
                <a:gd name="connsiteY2" fmla="*/ 1278878 h 1278877"/>
                <a:gd name="connsiteX3" fmla="*/ 1278887 w 1278886"/>
                <a:gd name="connsiteY3" fmla="*/ 20191 h 1278877"/>
                <a:gd name="connsiteX4" fmla="*/ 1274208 w 1278886"/>
                <a:gd name="connsiteY4" fmla="*/ 0 h 1278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886" h="1278877">
                  <a:moveTo>
                    <a:pt x="1274208" y="0"/>
                  </a:moveTo>
                  <a:lnTo>
                    <a:pt x="0" y="1274208"/>
                  </a:lnTo>
                  <a:cubicBezTo>
                    <a:pt x="6719" y="1275826"/>
                    <a:pt x="13455" y="1277392"/>
                    <a:pt x="20200" y="1278878"/>
                  </a:cubicBezTo>
                  <a:lnTo>
                    <a:pt x="1278887" y="20191"/>
                  </a:lnTo>
                  <a:cubicBezTo>
                    <a:pt x="1277392" y="13455"/>
                    <a:pt x="1275835" y="6719"/>
                    <a:pt x="1274208" y="0"/>
                  </a:cubicBezTo>
                  <a:close/>
                </a:path>
              </a:pathLst>
            </a:custGeom>
            <a:grpFill/>
            <a:ln w="8791" cap="flat">
              <a:noFill/>
              <a:prstDash val="solid"/>
              <a:miter/>
            </a:ln>
          </p:spPr>
          <p:txBody>
            <a:bodyPr rtlCol="0" anchor="ctr"/>
            <a:lstStyle/>
            <a:p>
              <a:endParaRPr lang="en-GB">
                <a:highlight>
                  <a:srgbClr val="FFFF00"/>
                </a:highlight>
              </a:endParaRPr>
            </a:p>
          </p:txBody>
        </p:sp>
        <p:sp>
          <p:nvSpPr>
            <p:cNvPr id="37" name="Freeform: Shape 36">
              <a:extLst>
                <a:ext uri="{FF2B5EF4-FFF2-40B4-BE49-F238E27FC236}">
                  <a16:creationId xmlns:a16="http://schemas.microsoft.com/office/drawing/2014/main" id="{FE269F2F-A8D9-474D-A60D-FC24880A14D5}"/>
                </a:ext>
              </a:extLst>
            </p:cNvPr>
            <p:cNvSpPr/>
            <p:nvPr/>
          </p:nvSpPr>
          <p:spPr>
            <a:xfrm>
              <a:off x="1511241" y="4301062"/>
              <a:ext cx="1206274" cy="1206274"/>
            </a:xfrm>
            <a:custGeom>
              <a:avLst/>
              <a:gdLst>
                <a:gd name="connsiteX0" fmla="*/ 1203179 w 1206274"/>
                <a:gd name="connsiteY0" fmla="*/ 0 h 1206274"/>
                <a:gd name="connsiteX1" fmla="*/ 0 w 1206274"/>
                <a:gd name="connsiteY1" fmla="*/ 1203188 h 1206274"/>
                <a:gd name="connsiteX2" fmla="*/ 21783 w 1206274"/>
                <a:gd name="connsiteY2" fmla="*/ 1206274 h 1206274"/>
                <a:gd name="connsiteX3" fmla="*/ 1206274 w 1206274"/>
                <a:gd name="connsiteY3" fmla="*/ 21783 h 1206274"/>
                <a:gd name="connsiteX4" fmla="*/ 1203179 w 1206274"/>
                <a:gd name="connsiteY4" fmla="*/ 0 h 1206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6274" h="1206274">
                  <a:moveTo>
                    <a:pt x="1203179" y="0"/>
                  </a:moveTo>
                  <a:lnTo>
                    <a:pt x="0" y="1203188"/>
                  </a:lnTo>
                  <a:cubicBezTo>
                    <a:pt x="7255" y="1204296"/>
                    <a:pt x="14510" y="1205316"/>
                    <a:pt x="21783" y="1206274"/>
                  </a:cubicBezTo>
                  <a:lnTo>
                    <a:pt x="1206274" y="21783"/>
                  </a:lnTo>
                  <a:cubicBezTo>
                    <a:pt x="1205307" y="14519"/>
                    <a:pt x="1204287" y="7255"/>
                    <a:pt x="1203179" y="0"/>
                  </a:cubicBezTo>
                  <a:close/>
                </a:path>
              </a:pathLst>
            </a:custGeom>
            <a:grpFill/>
            <a:ln w="8791" cap="flat">
              <a:noFill/>
              <a:prstDash val="solid"/>
              <a:miter/>
            </a:ln>
          </p:spPr>
          <p:txBody>
            <a:bodyPr rtlCol="0" anchor="ctr"/>
            <a:lstStyle/>
            <a:p>
              <a:endParaRPr lang="en-GB">
                <a:highlight>
                  <a:srgbClr val="FFFF00"/>
                </a:highlight>
              </a:endParaRPr>
            </a:p>
          </p:txBody>
        </p:sp>
        <p:sp>
          <p:nvSpPr>
            <p:cNvPr id="38" name="Freeform: Shape 37">
              <a:extLst>
                <a:ext uri="{FF2B5EF4-FFF2-40B4-BE49-F238E27FC236}">
                  <a16:creationId xmlns:a16="http://schemas.microsoft.com/office/drawing/2014/main" id="{D5E160DF-432E-45F1-9123-07AF2DCF6292}"/>
                </a:ext>
              </a:extLst>
            </p:cNvPr>
            <p:cNvSpPr/>
            <p:nvPr/>
          </p:nvSpPr>
          <p:spPr>
            <a:xfrm>
              <a:off x="1606744" y="4396573"/>
              <a:ext cx="1119029" cy="1119020"/>
            </a:xfrm>
            <a:custGeom>
              <a:avLst/>
              <a:gdLst>
                <a:gd name="connsiteX0" fmla="*/ 1117851 w 1119029"/>
                <a:gd name="connsiteY0" fmla="*/ 0 h 1119020"/>
                <a:gd name="connsiteX1" fmla="*/ 0 w 1119029"/>
                <a:gd name="connsiteY1" fmla="*/ 1117842 h 1119020"/>
                <a:gd name="connsiteX2" fmla="*/ 23691 w 1119029"/>
                <a:gd name="connsiteY2" fmla="*/ 1119020 h 1119020"/>
                <a:gd name="connsiteX3" fmla="*/ 1119029 w 1119029"/>
                <a:gd name="connsiteY3" fmla="*/ 23682 h 1119020"/>
                <a:gd name="connsiteX4" fmla="*/ 1117851 w 1119029"/>
                <a:gd name="connsiteY4" fmla="*/ 0 h 1119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029" h="1119020">
                  <a:moveTo>
                    <a:pt x="1117851" y="0"/>
                  </a:moveTo>
                  <a:lnTo>
                    <a:pt x="0" y="1117842"/>
                  </a:lnTo>
                  <a:cubicBezTo>
                    <a:pt x="7888" y="1118325"/>
                    <a:pt x="15785" y="1118721"/>
                    <a:pt x="23691" y="1119020"/>
                  </a:cubicBezTo>
                  <a:lnTo>
                    <a:pt x="1119029" y="23682"/>
                  </a:lnTo>
                  <a:cubicBezTo>
                    <a:pt x="1118721" y="15785"/>
                    <a:pt x="1118325" y="7888"/>
                    <a:pt x="1117851" y="0"/>
                  </a:cubicBezTo>
                  <a:close/>
                </a:path>
              </a:pathLst>
            </a:custGeom>
            <a:grpFill/>
            <a:ln w="8791" cap="flat">
              <a:noFill/>
              <a:prstDash val="solid"/>
              <a:miter/>
            </a:ln>
          </p:spPr>
          <p:txBody>
            <a:bodyPr rtlCol="0" anchor="ctr"/>
            <a:lstStyle/>
            <a:p>
              <a:endParaRPr lang="en-GB">
                <a:highlight>
                  <a:srgbClr val="FFFF00"/>
                </a:highlight>
              </a:endParaRPr>
            </a:p>
          </p:txBody>
        </p:sp>
        <p:sp>
          <p:nvSpPr>
            <p:cNvPr id="39" name="Freeform: Shape 38">
              <a:extLst>
                <a:ext uri="{FF2B5EF4-FFF2-40B4-BE49-F238E27FC236}">
                  <a16:creationId xmlns:a16="http://schemas.microsoft.com/office/drawing/2014/main" id="{EA839E75-5257-46A3-A835-D4B6C5397092}"/>
                </a:ext>
              </a:extLst>
            </p:cNvPr>
            <p:cNvSpPr/>
            <p:nvPr/>
          </p:nvSpPr>
          <p:spPr>
            <a:xfrm>
              <a:off x="1711208" y="4501029"/>
              <a:ext cx="1014600" cy="1014608"/>
            </a:xfrm>
            <a:custGeom>
              <a:avLst/>
              <a:gdLst>
                <a:gd name="connsiteX0" fmla="*/ 1013299 w 1014600"/>
                <a:gd name="connsiteY0" fmla="*/ 26180 h 1014608"/>
                <a:gd name="connsiteX1" fmla="*/ 1014600 w 1014600"/>
                <a:gd name="connsiteY1" fmla="*/ 0 h 1014608"/>
                <a:gd name="connsiteX2" fmla="*/ 0 w 1014600"/>
                <a:gd name="connsiteY2" fmla="*/ 1014609 h 1014608"/>
                <a:gd name="connsiteX3" fmla="*/ 26180 w 1014600"/>
                <a:gd name="connsiteY3" fmla="*/ 1013307 h 1014608"/>
                <a:gd name="connsiteX4" fmla="*/ 1013299 w 1014600"/>
                <a:gd name="connsiteY4" fmla="*/ 26180 h 1014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600" h="1014608">
                  <a:moveTo>
                    <a:pt x="1013299" y="26180"/>
                  </a:moveTo>
                  <a:cubicBezTo>
                    <a:pt x="1013844" y="17456"/>
                    <a:pt x="1014275" y="8732"/>
                    <a:pt x="1014600" y="0"/>
                  </a:cubicBezTo>
                  <a:lnTo>
                    <a:pt x="0" y="1014609"/>
                  </a:lnTo>
                  <a:cubicBezTo>
                    <a:pt x="8732" y="1014284"/>
                    <a:pt x="17456" y="1013844"/>
                    <a:pt x="26180" y="1013307"/>
                  </a:cubicBezTo>
                  <a:lnTo>
                    <a:pt x="1013299" y="26180"/>
                  </a:lnTo>
                  <a:close/>
                </a:path>
              </a:pathLst>
            </a:custGeom>
            <a:grpFill/>
            <a:ln w="8791" cap="flat">
              <a:noFill/>
              <a:prstDash val="solid"/>
              <a:miter/>
            </a:ln>
          </p:spPr>
          <p:txBody>
            <a:bodyPr rtlCol="0" anchor="ctr"/>
            <a:lstStyle/>
            <a:p>
              <a:endParaRPr lang="en-GB">
                <a:highlight>
                  <a:srgbClr val="FFFF00"/>
                </a:highlight>
              </a:endParaRPr>
            </a:p>
          </p:txBody>
        </p:sp>
        <p:sp>
          <p:nvSpPr>
            <p:cNvPr id="40" name="Freeform: Shape 39">
              <a:extLst>
                <a:ext uri="{FF2B5EF4-FFF2-40B4-BE49-F238E27FC236}">
                  <a16:creationId xmlns:a16="http://schemas.microsoft.com/office/drawing/2014/main" id="{5DAA0300-BE2A-47C6-AB9A-500E0EAEA033}"/>
                </a:ext>
              </a:extLst>
            </p:cNvPr>
            <p:cNvSpPr/>
            <p:nvPr/>
          </p:nvSpPr>
          <p:spPr>
            <a:xfrm>
              <a:off x="1827694" y="4617514"/>
              <a:ext cx="887315" cy="887315"/>
            </a:xfrm>
            <a:custGeom>
              <a:avLst/>
              <a:gdLst>
                <a:gd name="connsiteX0" fmla="*/ 29768 w 887315"/>
                <a:gd name="connsiteY0" fmla="*/ 882426 h 887315"/>
                <a:gd name="connsiteX1" fmla="*/ 882426 w 887315"/>
                <a:gd name="connsiteY1" fmla="*/ 29768 h 887315"/>
                <a:gd name="connsiteX2" fmla="*/ 887316 w 887315"/>
                <a:gd name="connsiteY2" fmla="*/ 0 h 887315"/>
                <a:gd name="connsiteX3" fmla="*/ 0 w 887315"/>
                <a:gd name="connsiteY3" fmla="*/ 887316 h 887315"/>
                <a:gd name="connsiteX4" fmla="*/ 29768 w 887315"/>
                <a:gd name="connsiteY4" fmla="*/ 882426 h 887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7315" h="887315">
                  <a:moveTo>
                    <a:pt x="29768" y="882426"/>
                  </a:moveTo>
                  <a:lnTo>
                    <a:pt x="882426" y="29768"/>
                  </a:lnTo>
                  <a:cubicBezTo>
                    <a:pt x="884194" y="19866"/>
                    <a:pt x="885838" y="9946"/>
                    <a:pt x="887316" y="0"/>
                  </a:cubicBezTo>
                  <a:lnTo>
                    <a:pt x="0" y="887316"/>
                  </a:lnTo>
                  <a:cubicBezTo>
                    <a:pt x="9937" y="885838"/>
                    <a:pt x="19857" y="884194"/>
                    <a:pt x="29768" y="882426"/>
                  </a:cubicBezTo>
                  <a:close/>
                </a:path>
              </a:pathLst>
            </a:custGeom>
            <a:grpFill/>
            <a:ln w="8791" cap="flat">
              <a:noFill/>
              <a:prstDash val="solid"/>
              <a:miter/>
            </a:ln>
          </p:spPr>
          <p:txBody>
            <a:bodyPr rtlCol="0" anchor="ctr"/>
            <a:lstStyle/>
            <a:p>
              <a:endParaRPr lang="en-GB">
                <a:highlight>
                  <a:srgbClr val="FFFF00"/>
                </a:highlight>
              </a:endParaRPr>
            </a:p>
          </p:txBody>
        </p:sp>
        <p:sp>
          <p:nvSpPr>
            <p:cNvPr id="41" name="Freeform: Shape 40">
              <a:extLst>
                <a:ext uri="{FF2B5EF4-FFF2-40B4-BE49-F238E27FC236}">
                  <a16:creationId xmlns:a16="http://schemas.microsoft.com/office/drawing/2014/main" id="{361AF0FE-D08A-49B4-8A61-6AD837F9FFE4}"/>
                </a:ext>
              </a:extLst>
            </p:cNvPr>
            <p:cNvSpPr/>
            <p:nvPr/>
          </p:nvSpPr>
          <p:spPr>
            <a:xfrm>
              <a:off x="1962620" y="4752441"/>
              <a:ext cx="723149" cy="723148"/>
            </a:xfrm>
            <a:custGeom>
              <a:avLst/>
              <a:gdLst>
                <a:gd name="connsiteX0" fmla="*/ 35730 w 723149"/>
                <a:gd name="connsiteY0" fmla="*/ 712288 h 723148"/>
                <a:gd name="connsiteX1" fmla="*/ 712280 w 723149"/>
                <a:gd name="connsiteY1" fmla="*/ 35739 h 723148"/>
                <a:gd name="connsiteX2" fmla="*/ 723149 w 723149"/>
                <a:gd name="connsiteY2" fmla="*/ 0 h 723148"/>
                <a:gd name="connsiteX3" fmla="*/ 0 w 723149"/>
                <a:gd name="connsiteY3" fmla="*/ 723149 h 723148"/>
                <a:gd name="connsiteX4" fmla="*/ 35730 w 723149"/>
                <a:gd name="connsiteY4" fmla="*/ 712288 h 723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149" h="723148">
                  <a:moveTo>
                    <a:pt x="35730" y="712288"/>
                  </a:moveTo>
                  <a:lnTo>
                    <a:pt x="712280" y="35739"/>
                  </a:lnTo>
                  <a:cubicBezTo>
                    <a:pt x="716131" y="23884"/>
                    <a:pt x="719719" y="11960"/>
                    <a:pt x="723149" y="0"/>
                  </a:cubicBezTo>
                  <a:lnTo>
                    <a:pt x="0" y="723149"/>
                  </a:lnTo>
                  <a:cubicBezTo>
                    <a:pt x="11960" y="719737"/>
                    <a:pt x="23876" y="716140"/>
                    <a:pt x="35730" y="712288"/>
                  </a:cubicBezTo>
                  <a:close/>
                </a:path>
              </a:pathLst>
            </a:custGeom>
            <a:grpFill/>
            <a:ln w="8791" cap="flat">
              <a:noFill/>
              <a:prstDash val="solid"/>
              <a:miter/>
            </a:ln>
          </p:spPr>
          <p:txBody>
            <a:bodyPr rtlCol="0" anchor="ctr"/>
            <a:lstStyle/>
            <a:p>
              <a:endParaRPr lang="en-GB">
                <a:highlight>
                  <a:srgbClr val="FFFF00"/>
                </a:highlight>
              </a:endParaRPr>
            </a:p>
          </p:txBody>
        </p:sp>
        <p:sp>
          <p:nvSpPr>
            <p:cNvPr id="42" name="Freeform: Shape 41">
              <a:extLst>
                <a:ext uri="{FF2B5EF4-FFF2-40B4-BE49-F238E27FC236}">
                  <a16:creationId xmlns:a16="http://schemas.microsoft.com/office/drawing/2014/main" id="{58A2C479-D060-49A5-91EE-2F9635A4876E}"/>
                </a:ext>
              </a:extLst>
            </p:cNvPr>
            <p:cNvSpPr/>
            <p:nvPr/>
          </p:nvSpPr>
          <p:spPr>
            <a:xfrm>
              <a:off x="2133980" y="4923827"/>
              <a:ext cx="486088" cy="486088"/>
            </a:xfrm>
            <a:custGeom>
              <a:avLst/>
              <a:gdLst>
                <a:gd name="connsiteX0" fmla="*/ 52043 w 486088"/>
                <a:gd name="connsiteY0" fmla="*/ 458915 h 486088"/>
                <a:gd name="connsiteX1" fmla="*/ 458924 w 486088"/>
                <a:gd name="connsiteY1" fmla="*/ 52034 h 486088"/>
                <a:gd name="connsiteX2" fmla="*/ 486089 w 486088"/>
                <a:gd name="connsiteY2" fmla="*/ 0 h 486088"/>
                <a:gd name="connsiteX3" fmla="*/ 0 w 486088"/>
                <a:gd name="connsiteY3" fmla="*/ 486089 h 486088"/>
                <a:gd name="connsiteX4" fmla="*/ 52043 w 486088"/>
                <a:gd name="connsiteY4" fmla="*/ 458915 h 486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088" h="486088">
                  <a:moveTo>
                    <a:pt x="52043" y="458915"/>
                  </a:moveTo>
                  <a:lnTo>
                    <a:pt x="458924" y="52034"/>
                  </a:lnTo>
                  <a:cubicBezTo>
                    <a:pt x="468510" y="34895"/>
                    <a:pt x="477541" y="17535"/>
                    <a:pt x="486089" y="0"/>
                  </a:cubicBezTo>
                  <a:lnTo>
                    <a:pt x="0" y="486089"/>
                  </a:lnTo>
                  <a:cubicBezTo>
                    <a:pt x="17544" y="477524"/>
                    <a:pt x="34912" y="468492"/>
                    <a:pt x="52043" y="458915"/>
                  </a:cubicBezTo>
                  <a:close/>
                </a:path>
              </a:pathLst>
            </a:custGeom>
            <a:grpFill/>
            <a:ln w="8791" cap="flat">
              <a:noFill/>
              <a:prstDash val="solid"/>
              <a:miter/>
            </a:ln>
          </p:spPr>
          <p:txBody>
            <a:bodyPr rtlCol="0" anchor="ctr"/>
            <a:lstStyle/>
            <a:p>
              <a:endParaRPr lang="en-GB">
                <a:highlight>
                  <a:srgbClr val="FFFF00"/>
                </a:highlight>
              </a:endParaRPr>
            </a:p>
          </p:txBody>
        </p:sp>
      </p:grpSp>
      <p:sp>
        <p:nvSpPr>
          <p:cNvPr id="43" name="Graphic 11" descr="One solid circle, one ring, and one circle filled with diagonal lines">
            <a:extLst>
              <a:ext uri="{FF2B5EF4-FFF2-40B4-BE49-F238E27FC236}">
                <a16:creationId xmlns:a16="http://schemas.microsoft.com/office/drawing/2014/main" id="{13D13F30-D052-4B63-BDF8-249F83E783AC}"/>
              </a:ext>
            </a:extLst>
          </p:cNvPr>
          <p:cNvSpPr/>
          <p:nvPr/>
        </p:nvSpPr>
        <p:spPr>
          <a:xfrm>
            <a:off x="633660" y="5910040"/>
            <a:ext cx="659550" cy="659550"/>
          </a:xfrm>
          <a:custGeom>
            <a:avLst/>
            <a:gdLst>
              <a:gd name="connsiteX0" fmla="*/ 331816 w 659550"/>
              <a:gd name="connsiteY0" fmla="*/ 659551 h 659550"/>
              <a:gd name="connsiteX1" fmla="*/ 327735 w 659550"/>
              <a:gd name="connsiteY1" fmla="*/ 659551 h 659550"/>
              <a:gd name="connsiteX2" fmla="*/ 0 w 659550"/>
              <a:gd name="connsiteY2" fmla="*/ 331816 h 659550"/>
              <a:gd name="connsiteX3" fmla="*/ 0 w 659550"/>
              <a:gd name="connsiteY3" fmla="*/ 327735 h 659550"/>
              <a:gd name="connsiteX4" fmla="*/ 327735 w 659550"/>
              <a:gd name="connsiteY4" fmla="*/ 0 h 659550"/>
              <a:gd name="connsiteX5" fmla="*/ 331816 w 659550"/>
              <a:gd name="connsiteY5" fmla="*/ 0 h 659550"/>
              <a:gd name="connsiteX6" fmla="*/ 659551 w 659550"/>
              <a:gd name="connsiteY6" fmla="*/ 327735 h 659550"/>
              <a:gd name="connsiteX7" fmla="*/ 659551 w 659550"/>
              <a:gd name="connsiteY7" fmla="*/ 331816 h 659550"/>
              <a:gd name="connsiteX8" fmla="*/ 331816 w 659550"/>
              <a:gd name="connsiteY8" fmla="*/ 659551 h 65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9550" h="659550">
                <a:moveTo>
                  <a:pt x="331816" y="659551"/>
                </a:moveTo>
                <a:lnTo>
                  <a:pt x="327735" y="659551"/>
                </a:lnTo>
                <a:cubicBezTo>
                  <a:pt x="146737" y="659551"/>
                  <a:pt x="0" y="512823"/>
                  <a:pt x="0" y="331816"/>
                </a:cubicBezTo>
                <a:lnTo>
                  <a:pt x="0" y="327735"/>
                </a:lnTo>
                <a:cubicBezTo>
                  <a:pt x="0" y="146737"/>
                  <a:pt x="146728" y="0"/>
                  <a:pt x="327735" y="0"/>
                </a:cubicBezTo>
                <a:lnTo>
                  <a:pt x="331816" y="0"/>
                </a:lnTo>
                <a:cubicBezTo>
                  <a:pt x="512814" y="0"/>
                  <a:pt x="659551" y="146728"/>
                  <a:pt x="659551" y="327735"/>
                </a:cubicBezTo>
                <a:lnTo>
                  <a:pt x="659551" y="331816"/>
                </a:lnTo>
                <a:cubicBezTo>
                  <a:pt x="659551" y="512823"/>
                  <a:pt x="512823" y="659551"/>
                  <a:pt x="331816" y="659551"/>
                </a:cubicBezTo>
                <a:close/>
              </a:path>
            </a:pathLst>
          </a:custGeom>
          <a:solidFill>
            <a:schemeClr val="accent2">
              <a:lumMod val="75000"/>
            </a:schemeClr>
          </a:solidFill>
          <a:ln w="8791" cap="flat">
            <a:noFill/>
            <a:prstDash val="solid"/>
            <a:miter/>
          </a:ln>
        </p:spPr>
        <p:txBody>
          <a:bodyPr rtlCol="0" anchor="ctr"/>
          <a:lstStyle/>
          <a:p>
            <a:endParaRPr lang="en-GB">
              <a:highlight>
                <a:srgbClr val="FFFF00"/>
              </a:highlight>
            </a:endParaRPr>
          </a:p>
        </p:txBody>
      </p:sp>
      <p:sp>
        <p:nvSpPr>
          <p:cNvPr id="44" name="Rectangle 43">
            <a:extLst>
              <a:ext uri="{FF2B5EF4-FFF2-40B4-BE49-F238E27FC236}">
                <a16:creationId xmlns:a16="http://schemas.microsoft.com/office/drawing/2014/main" id="{1B5EBE2D-B89B-4D8A-A9E1-7E86EFF57805}"/>
              </a:ext>
            </a:extLst>
          </p:cNvPr>
          <p:cNvSpPr/>
          <p:nvPr/>
        </p:nvSpPr>
        <p:spPr>
          <a:xfrm>
            <a:off x="4574398" y="-71022"/>
            <a:ext cx="139156" cy="6929022"/>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765414402"/>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59</TotalTime>
  <Words>2894</Words>
  <Application>Microsoft Office PowerPoint</Application>
  <PresentationFormat>Widescreen</PresentationFormat>
  <Paragraphs>69</Paragraphs>
  <Slides>14</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libri Light</vt:lpstr>
      <vt:lpstr>Franklin Gothic Demi</vt:lpstr>
      <vt:lpstr>Segoe UI Light</vt:lpstr>
      <vt:lpstr>Office Theme</vt:lpstr>
      <vt:lpstr>think-cell Slide</vt:lpstr>
      <vt:lpstr>Alexander Zlatev: About me and my View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ander Zlatev</dc:creator>
  <cp:lastModifiedBy>Alexander Zlatev</cp:lastModifiedBy>
  <cp:revision>43</cp:revision>
  <dcterms:created xsi:type="dcterms:W3CDTF">2021-03-02T01:23:11Z</dcterms:created>
  <dcterms:modified xsi:type="dcterms:W3CDTF">2021-08-28T17:20:43Z</dcterms:modified>
</cp:coreProperties>
</file>